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charts/chart6.xml" ContentType="application/vnd.openxmlformats-officedocument.drawingml.chart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charts/chart8.xml" ContentType="application/vnd.openxmlformats-officedocument.drawingml.chart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comments/comment1.xml" ContentType="application/vnd.openxmlformats-officedocument.presentationml.comment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2.xml" ContentType="application/vnd.openxmlformats-officedocument.drawingml.chart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charts/chart13.xml" ContentType="application/vnd.openxmlformats-officedocument.drawingml.chart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4.xml" ContentType="application/vnd.openxmlformats-officedocument.drawingml.chart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6.xml" ContentType="application/vnd.openxmlformats-officedocument.drawingml.chart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charts/chart17.xml" ContentType="application/vnd.openxmlformats-officedocument.drawingml.chart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charts/chart18.xml" ContentType="application/vnd.openxmlformats-officedocument.drawingml.chart+xml"/>
  <Override PartName="/ppt/comments/comment2.xml" ContentType="application/vnd.openxmlformats-officedocument.presentationml.comment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notesSlides/notesSlide14.xml" ContentType="application/vnd.openxmlformats-officedocument.presentationml.notesSlide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9.xml" ContentType="application/vnd.openxmlformats-officedocument.drawingml.chart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0.xml" ContentType="application/vnd.openxmlformats-officedocument.drawingml.chart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charts/chart21.xml" ContentType="application/vnd.openxmlformats-officedocument.drawingml.chart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22.xml" ContentType="application/vnd.openxmlformats-officedocument.drawingml.chart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charts/chart23.xml" ContentType="application/vnd.openxmlformats-officedocument.drawingml.chart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24.xml" ContentType="application/vnd.openxmlformats-officedocument.drawingml.chart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charts/chart25.xml" ContentType="application/vnd.openxmlformats-officedocument.drawingml.chart+xml"/>
  <Override PartName="/ppt/comments/comment3.xml" ContentType="application/vnd.openxmlformats-officedocument.presentationml.comment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notesSlides/notesSlide19.xml" ContentType="application/vnd.openxmlformats-officedocument.presentationml.notesSlide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6.xml" ContentType="application/vnd.openxmlformats-officedocument.drawingml.chart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charts/chart27.xml" ContentType="application/vnd.openxmlformats-officedocument.drawingml.chart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8.xml" ContentType="application/vnd.openxmlformats-officedocument.drawingml.chart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notesSlides/notesSlide22.xml" ContentType="application/vnd.openxmlformats-officedocument.presentationml.notesSlide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charts/chart29.xml" ContentType="application/vnd.openxmlformats-officedocument.drawingml.chart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charts/chart30.xml" ContentType="application/vnd.openxmlformats-officedocument.drawingml.chart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31.xml" ContentType="application/vnd.openxmlformats-officedocument.drawingml.chart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notesSlides/notesSlide24.xml" ContentType="application/vnd.openxmlformats-officedocument.presentationml.notesSlide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32.xml" ContentType="application/vnd.openxmlformats-officedocument.drawingml.chart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33.xml" ContentType="application/vnd.openxmlformats-officedocument.drawingml.chart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34.xml" ContentType="application/vnd.openxmlformats-officedocument.drawingml.chart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35.xml" ContentType="application/vnd.openxmlformats-officedocument.drawingml.chart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36.xml" ContentType="application/vnd.openxmlformats-officedocument.drawingml.chart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7.xml" ContentType="application/vnd.openxmlformats-officedocument.drawingml.chart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charts/chart38.xml" ContentType="application/vnd.openxmlformats-officedocument.drawingml.chart+xml"/>
  <Override PartName="/ppt/comments/comment4.xml" ContentType="application/vnd.openxmlformats-officedocument.presentationml.comment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notesSlides/notesSlide31.xml" ContentType="application/vnd.openxmlformats-officedocument.presentationml.notesSlide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notesSlides/notesSlide32.xml" ContentType="application/vnd.openxmlformats-officedocument.presentationml.notesSlide+xml"/>
  <Override PartName="/ppt/charts/chart39.xml" ContentType="application/vnd.openxmlformats-officedocument.drawingml.chart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40.xml" ContentType="application/vnd.openxmlformats-officedocument.drawingml.chart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41.xml" ContentType="application/vnd.openxmlformats-officedocument.drawingml.chart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notesSlides/notesSlide35.xml" ContentType="application/vnd.openxmlformats-officedocument.presentationml.notesSlide+xml"/>
  <Override PartName="/ppt/charts/chart42.xml" ContentType="application/vnd.openxmlformats-officedocument.drawingml.chart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43.xml" ContentType="application/vnd.openxmlformats-officedocument.drawingml.chart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44.xml" ContentType="application/vnd.openxmlformats-officedocument.drawingml.chart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charts/chart45.xml" ContentType="application/vnd.openxmlformats-officedocument.drawingml.chart+xml"/>
  <Override PartName="/ppt/comments/comment5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3" r:id="rId1"/>
  </p:sldMasterIdLst>
  <p:notesMasterIdLst>
    <p:notesMasterId r:id="rId64"/>
  </p:notesMasterIdLst>
  <p:handoutMasterIdLst>
    <p:handoutMasterId r:id="rId65"/>
  </p:handoutMasterIdLst>
  <p:sldIdLst>
    <p:sldId id="1280" r:id="rId2"/>
    <p:sldId id="1512" r:id="rId3"/>
    <p:sldId id="1513" r:id="rId4"/>
    <p:sldId id="1533" r:id="rId5"/>
    <p:sldId id="1463" r:id="rId6"/>
    <p:sldId id="1486" r:id="rId7"/>
    <p:sldId id="1534" r:id="rId8"/>
    <p:sldId id="1511" r:id="rId9"/>
    <p:sldId id="1514" r:id="rId10"/>
    <p:sldId id="1466" r:id="rId11"/>
    <p:sldId id="1467" r:id="rId12"/>
    <p:sldId id="1468" r:id="rId13"/>
    <p:sldId id="1281" r:id="rId14"/>
    <p:sldId id="1522" r:id="rId15"/>
    <p:sldId id="1523" r:id="rId16"/>
    <p:sldId id="1325" r:id="rId17"/>
    <p:sldId id="1461" r:id="rId18"/>
    <p:sldId id="1537" r:id="rId19"/>
    <p:sldId id="1284" r:id="rId20"/>
    <p:sldId id="1293" r:id="rId21"/>
    <p:sldId id="1532" r:id="rId22"/>
    <p:sldId id="1538" r:id="rId23"/>
    <p:sldId id="1291" r:id="rId24"/>
    <p:sldId id="1535" r:id="rId25"/>
    <p:sldId id="1536" r:id="rId26"/>
    <p:sldId id="1515" r:id="rId27"/>
    <p:sldId id="1412" r:id="rId28"/>
    <p:sldId id="1413" r:id="rId29"/>
    <p:sldId id="1414" r:id="rId30"/>
    <p:sldId id="1323" r:id="rId31"/>
    <p:sldId id="1417" r:id="rId32"/>
    <p:sldId id="1520" r:id="rId33"/>
    <p:sldId id="1420" r:id="rId34"/>
    <p:sldId id="1541" r:id="rId35"/>
    <p:sldId id="1516" r:id="rId36"/>
    <p:sldId id="1527" r:id="rId37"/>
    <p:sldId id="1457" r:id="rId38"/>
    <p:sldId id="1528" r:id="rId39"/>
    <p:sldId id="1458" r:id="rId40"/>
    <p:sldId id="1517" r:id="rId41"/>
    <p:sldId id="1529" r:id="rId42"/>
    <p:sldId id="1401" r:id="rId43"/>
    <p:sldId id="1530" r:id="rId44"/>
    <p:sldId id="1402" r:id="rId45"/>
    <p:sldId id="1518" r:id="rId46"/>
    <p:sldId id="1524" r:id="rId47"/>
    <p:sldId id="1431" r:id="rId48"/>
    <p:sldId id="1432" r:id="rId49"/>
    <p:sldId id="1525" r:id="rId50"/>
    <p:sldId id="1435" r:id="rId51"/>
    <p:sldId id="1526" r:id="rId52"/>
    <p:sldId id="1438" r:id="rId53"/>
    <p:sldId id="1542" r:id="rId54"/>
    <p:sldId id="1519" r:id="rId55"/>
    <p:sldId id="1449" r:id="rId56"/>
    <p:sldId id="1450" r:id="rId57"/>
    <p:sldId id="1451" r:id="rId58"/>
    <p:sldId id="1454" r:id="rId59"/>
    <p:sldId id="1452" r:id="rId60"/>
    <p:sldId id="1531" r:id="rId61"/>
    <p:sldId id="1372" r:id="rId62"/>
    <p:sldId id="1543" r:id="rId63"/>
  </p:sldIdLst>
  <p:sldSz cx="9906000" cy="6858000" type="A4"/>
  <p:notesSz cx="6738938" cy="9869488"/>
  <p:custDataLst>
    <p:tags r:id="rId66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7B52B7B-6C9D-487F-AAE9-F22D857E5166}">
          <p14:sldIdLst>
            <p14:sldId id="1280"/>
            <p14:sldId id="1512"/>
          </p14:sldIdLst>
        </p14:section>
        <p14:section name="Market" id="{F3E0B92D-302C-4057-B4F4-6FA3CF7F6A9F}">
          <p14:sldIdLst>
            <p14:sldId id="1513"/>
            <p14:sldId id="1533"/>
            <p14:sldId id="1463"/>
            <p14:sldId id="1486"/>
            <p14:sldId id="1534"/>
            <p14:sldId id="1511"/>
          </p14:sldIdLst>
        </p14:section>
        <p14:section name="Group" id="{EB0D3811-1AB8-4DCA-B7D5-D90E39796EE5}">
          <p14:sldIdLst>
            <p14:sldId id="1514"/>
            <p14:sldId id="1466"/>
            <p14:sldId id="1467"/>
            <p14:sldId id="1468"/>
            <p14:sldId id="1281"/>
            <p14:sldId id="1522"/>
            <p14:sldId id="1523"/>
            <p14:sldId id="1325"/>
            <p14:sldId id="1461"/>
            <p14:sldId id="1537"/>
            <p14:sldId id="1284"/>
            <p14:sldId id="1293"/>
            <p14:sldId id="1532"/>
            <p14:sldId id="1538"/>
            <p14:sldId id="1291"/>
            <p14:sldId id="1535"/>
            <p14:sldId id="1536"/>
          </p14:sldIdLst>
        </p14:section>
        <p14:section name="Volkswagen Brand" id="{83BDF917-BCD1-46D9-B043-E525F6A29A06}">
          <p14:sldIdLst>
            <p14:sldId id="1515"/>
            <p14:sldId id="1412"/>
            <p14:sldId id="1413"/>
            <p14:sldId id="1414"/>
            <p14:sldId id="1323"/>
            <p14:sldId id="1417"/>
            <p14:sldId id="1520"/>
            <p14:sldId id="1420"/>
            <p14:sldId id="1541"/>
          </p14:sldIdLst>
        </p14:section>
        <p14:section name="Jetta Brand" id="{4CCE403F-C59C-41CA-A98A-DE4811612EE1}">
          <p14:sldIdLst>
            <p14:sldId id="1516"/>
            <p14:sldId id="1527"/>
            <p14:sldId id="1457"/>
            <p14:sldId id="1528"/>
            <p14:sldId id="1458"/>
          </p14:sldIdLst>
        </p14:section>
        <p14:section name="Cupra Brand" id="{6ACDC99C-7A20-411D-984E-009A934C8E71}">
          <p14:sldIdLst>
            <p14:sldId id="1517"/>
            <p14:sldId id="1529"/>
            <p14:sldId id="1401"/>
            <p14:sldId id="1530"/>
            <p14:sldId id="1402"/>
          </p14:sldIdLst>
        </p14:section>
        <p14:section name="Audi Brand" id="{1D4A99ED-724B-4D09-B3B3-91C8BA0CBAF6}">
          <p14:sldIdLst>
            <p14:sldId id="1518"/>
            <p14:sldId id="1524"/>
            <p14:sldId id="1431"/>
            <p14:sldId id="1432"/>
            <p14:sldId id="1525"/>
            <p14:sldId id="1435"/>
            <p14:sldId id="1526"/>
            <p14:sldId id="1438"/>
            <p14:sldId id="1542"/>
          </p14:sldIdLst>
        </p14:section>
        <p14:section name="Skoda Brand" id="{1778C280-8E2B-4E84-93F9-66BB17341DBA}">
          <p14:sldIdLst>
            <p14:sldId id="1519"/>
            <p14:sldId id="1449"/>
            <p14:sldId id="1450"/>
            <p14:sldId id="1451"/>
            <p14:sldId id="1454"/>
            <p14:sldId id="1452"/>
            <p14:sldId id="1531"/>
            <p14:sldId id="1372"/>
            <p14:sldId id="15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3">
          <p15:clr>
            <a:srgbClr val="A4A3A4"/>
          </p15:clr>
        </p15:guide>
        <p15:guide id="2" orient="horz" pos="1102">
          <p15:clr>
            <a:srgbClr val="A4A3A4"/>
          </p15:clr>
        </p15:guide>
        <p15:guide id="3" orient="horz" pos="4004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orient="horz" pos="482">
          <p15:clr>
            <a:srgbClr val="A4A3A4"/>
          </p15:clr>
        </p15:guide>
        <p15:guide id="6" pos="3664">
          <p15:clr>
            <a:srgbClr val="A4A3A4"/>
          </p15:clr>
        </p15:guide>
        <p15:guide id="7" pos="3066">
          <p15:clr>
            <a:srgbClr val="A4A3A4"/>
          </p15:clr>
        </p15:guide>
        <p15:guide id="8" pos="3156">
          <p15:clr>
            <a:srgbClr val="A4A3A4"/>
          </p15:clr>
        </p15:guide>
        <p15:guide id="9" pos="2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6F4E"/>
    <a:srgbClr val="EFC1D6"/>
    <a:srgbClr val="003366"/>
    <a:srgbClr val="006600"/>
    <a:srgbClr val="A21E4D"/>
    <a:srgbClr val="80B0C8"/>
    <a:srgbClr val="FDB56C"/>
    <a:srgbClr val="004666"/>
    <a:srgbClr val="EDF2F5"/>
    <a:srgbClr val="0B50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03" autoAdjust="0"/>
    <p:restoredTop sz="95102" autoAdjust="0"/>
  </p:normalViewPr>
  <p:slideViewPr>
    <p:cSldViewPr snapToGrid="0" showGuides="1">
      <p:cViewPr>
        <p:scale>
          <a:sx n="150" d="100"/>
          <a:sy n="150" d="100"/>
        </p:scale>
        <p:origin x="380" y="-1392"/>
      </p:cViewPr>
      <p:guideLst>
        <p:guide orient="horz" pos="733"/>
        <p:guide orient="horz" pos="1102"/>
        <p:guide orient="horz" pos="4004"/>
        <p:guide orient="horz" pos="4201"/>
        <p:guide orient="horz" pos="482"/>
        <p:guide pos="3664"/>
        <p:guide pos="3066"/>
        <p:guide pos="3156"/>
        <p:guide pos="2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2" d="100"/>
        <a:sy n="92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96" y="12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notesMaster" Target="notesMasters/notesMaster1.xml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35856992639326E-2"/>
          <c:y val="2.7762947143619859E-2"/>
          <c:w val="0.97812828601472124"/>
          <c:h val="0.9444741057127602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977D-4BBD-9476-DCB8650582E0}"/>
              </c:ext>
            </c:extLst>
          </c:dPt>
          <c:dPt>
            <c:idx val="3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77D-4BBD-9476-DCB8650582E0}"/>
              </c:ext>
            </c:extLst>
          </c:dPt>
          <c:dPt>
            <c:idx val="6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77D-4BBD-9476-DCB8650582E0}"/>
              </c:ext>
            </c:extLst>
          </c:dPt>
          <c:dPt>
            <c:idx val="9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977D-4BBD-9476-DCB8650582E0}"/>
              </c:ext>
            </c:extLst>
          </c:dPt>
          <c:dPt>
            <c:idx val="12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977D-4BBD-9476-DCB8650582E0}"/>
              </c:ext>
            </c:extLst>
          </c:dPt>
          <c:dPt>
            <c:idx val="15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977D-4BBD-9476-DCB8650582E0}"/>
              </c:ext>
            </c:extLst>
          </c:dPt>
          <c:dPt>
            <c:idx val="18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977D-4BBD-9476-DCB8650582E0}"/>
              </c:ext>
            </c:extLst>
          </c:dPt>
          <c:dPt>
            <c:idx val="21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977D-4BBD-9476-DCB8650582E0}"/>
              </c:ext>
            </c:extLst>
          </c:dPt>
          <c:dPt>
            <c:idx val="24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977D-4BBD-9476-DCB8650582E0}"/>
              </c:ext>
            </c:extLst>
          </c:dPt>
          <c:dPt>
            <c:idx val="27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977D-4BBD-9476-DCB8650582E0}"/>
              </c:ext>
            </c:extLst>
          </c:dPt>
          <c:dPt>
            <c:idx val="30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977D-4BBD-9476-DCB8650582E0}"/>
              </c:ext>
            </c:extLst>
          </c:dPt>
          <c:dPt>
            <c:idx val="33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977D-4BBD-9476-DCB8650582E0}"/>
              </c:ext>
            </c:extLst>
          </c:dPt>
          <c:val>
            <c:numRef>
              <c:f>Sheet1!$A$1:$AH$1</c:f>
              <c:numCache>
                <c:formatCode>General</c:formatCode>
                <c:ptCount val="34"/>
                <c:pt idx="0">
                  <c:v>20000000</c:v>
                </c:pt>
                <c:pt idx="2">
                  <c:v>15000000</c:v>
                </c:pt>
                <c:pt idx="3">
                  <c:v>15000000</c:v>
                </c:pt>
                <c:pt idx="5">
                  <c:v>15000000</c:v>
                </c:pt>
                <c:pt idx="6">
                  <c:v>15000000</c:v>
                </c:pt>
                <c:pt idx="8">
                  <c:v>15000000</c:v>
                </c:pt>
                <c:pt idx="9">
                  <c:v>15000000</c:v>
                </c:pt>
                <c:pt idx="11">
                  <c:v>15000000</c:v>
                </c:pt>
                <c:pt idx="12">
                  <c:v>15000000</c:v>
                </c:pt>
                <c:pt idx="14">
                  <c:v>15000000</c:v>
                </c:pt>
                <c:pt idx="15">
                  <c:v>15000000</c:v>
                </c:pt>
                <c:pt idx="17">
                  <c:v>15000000</c:v>
                </c:pt>
                <c:pt idx="18">
                  <c:v>15000000</c:v>
                </c:pt>
                <c:pt idx="20">
                  <c:v>15000000</c:v>
                </c:pt>
                <c:pt idx="21">
                  <c:v>15000000</c:v>
                </c:pt>
                <c:pt idx="23">
                  <c:v>15000000</c:v>
                </c:pt>
                <c:pt idx="24">
                  <c:v>15000000</c:v>
                </c:pt>
                <c:pt idx="26">
                  <c:v>15000000</c:v>
                </c:pt>
                <c:pt idx="27">
                  <c:v>15000000</c:v>
                </c:pt>
                <c:pt idx="29">
                  <c:v>15000000</c:v>
                </c:pt>
                <c:pt idx="30">
                  <c:v>15000000</c:v>
                </c:pt>
                <c:pt idx="32">
                  <c:v>15000000</c:v>
                </c:pt>
                <c:pt idx="33">
                  <c:v>15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77D-4BBD-9476-DCB8650582E0}"/>
            </c:ext>
          </c:extLst>
        </c:ser>
        <c:ser>
          <c:idx val="1"/>
          <c:order val="1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977D-4BBD-9476-DCB8650582E0}"/>
              </c:ext>
            </c:extLst>
          </c:dPt>
          <c:dPt>
            <c:idx val="5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977D-4BBD-9476-DCB8650582E0}"/>
              </c:ext>
            </c:extLst>
          </c:dPt>
          <c:dPt>
            <c:idx val="8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977D-4BBD-9476-DCB8650582E0}"/>
              </c:ext>
            </c:extLst>
          </c:dPt>
          <c:dPt>
            <c:idx val="11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977D-4BBD-9476-DCB8650582E0}"/>
              </c:ext>
            </c:extLst>
          </c:dPt>
          <c:dPt>
            <c:idx val="14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977D-4BBD-9476-DCB8650582E0}"/>
              </c:ext>
            </c:extLst>
          </c:dPt>
          <c:dPt>
            <c:idx val="17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977D-4BBD-9476-DCB8650582E0}"/>
              </c:ext>
            </c:extLst>
          </c:dPt>
          <c:dPt>
            <c:idx val="20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977D-4BBD-9476-DCB8650582E0}"/>
              </c:ext>
            </c:extLst>
          </c:dPt>
          <c:dPt>
            <c:idx val="23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977D-4BBD-9476-DCB8650582E0}"/>
              </c:ext>
            </c:extLst>
          </c:dPt>
          <c:dPt>
            <c:idx val="26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977D-4BBD-9476-DCB8650582E0}"/>
              </c:ext>
            </c:extLst>
          </c:dPt>
          <c:dPt>
            <c:idx val="29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977D-4BBD-9476-DCB8650582E0}"/>
              </c:ext>
            </c:extLst>
          </c:dPt>
          <c:dPt>
            <c:idx val="32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977D-4BBD-9476-DCB8650582E0}"/>
              </c:ext>
            </c:extLst>
          </c:dPt>
          <c:val>
            <c:numRef>
              <c:f>Sheet1!$A$2:$AH$2</c:f>
              <c:numCache>
                <c:formatCode>General</c:formatCode>
                <c:ptCount val="34"/>
                <c:pt idx="0">
                  <c:v>1000000</c:v>
                </c:pt>
                <c:pt idx="2">
                  <c:v>1000000</c:v>
                </c:pt>
                <c:pt idx="3">
                  <c:v>1000000</c:v>
                </c:pt>
                <c:pt idx="5">
                  <c:v>1000000</c:v>
                </c:pt>
                <c:pt idx="6">
                  <c:v>1000000</c:v>
                </c:pt>
                <c:pt idx="8">
                  <c:v>1000000</c:v>
                </c:pt>
                <c:pt idx="9">
                  <c:v>1000000</c:v>
                </c:pt>
                <c:pt idx="11">
                  <c:v>1000000</c:v>
                </c:pt>
                <c:pt idx="12">
                  <c:v>1000000</c:v>
                </c:pt>
                <c:pt idx="14">
                  <c:v>1000000</c:v>
                </c:pt>
                <c:pt idx="15">
                  <c:v>1000000</c:v>
                </c:pt>
                <c:pt idx="17">
                  <c:v>1000000</c:v>
                </c:pt>
                <c:pt idx="18">
                  <c:v>1000000</c:v>
                </c:pt>
                <c:pt idx="20">
                  <c:v>1000000</c:v>
                </c:pt>
                <c:pt idx="21">
                  <c:v>1000000</c:v>
                </c:pt>
                <c:pt idx="23">
                  <c:v>1000000</c:v>
                </c:pt>
                <c:pt idx="24">
                  <c:v>1000000</c:v>
                </c:pt>
                <c:pt idx="26">
                  <c:v>1000000</c:v>
                </c:pt>
                <c:pt idx="27">
                  <c:v>1000000</c:v>
                </c:pt>
                <c:pt idx="29">
                  <c:v>1000000</c:v>
                </c:pt>
                <c:pt idx="30">
                  <c:v>1000000</c:v>
                </c:pt>
                <c:pt idx="32">
                  <c:v>1000000</c:v>
                </c:pt>
                <c:pt idx="33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977D-4BBD-9476-DCB8650582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06756392"/>
        <c:axId val="1"/>
      </c:barChart>
      <c:catAx>
        <c:axId val="406756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1000000"/>
          <c:min val="-1.5"/>
        </c:scaling>
        <c:delete val="1"/>
        <c:axPos val="r"/>
        <c:numFmt formatCode="General" sourceLinked="1"/>
        <c:majorTickMark val="out"/>
        <c:minorTickMark val="none"/>
        <c:tickLblPos val="nextTo"/>
        <c:crossAx val="40675639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9938556067588324E-2"/>
          <c:w val="0.98218873094707992"/>
          <c:h val="0.9201228878648233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501-48BC-9D4B-21D539BDCD51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501-48BC-9D4B-21D539BDCD51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353795.32163742697</c:v>
                </c:pt>
                <c:pt idx="1">
                  <c:v>253795.32163742697</c:v>
                </c:pt>
                <c:pt idx="2">
                  <c:v>252795.32163742697</c:v>
                </c:pt>
                <c:pt idx="3">
                  <c:v>252795.32163742697</c:v>
                </c:pt>
                <c:pt idx="4">
                  <c:v>253795.32163742697</c:v>
                </c:pt>
                <c:pt idx="5">
                  <c:v>253795.32163742697</c:v>
                </c:pt>
                <c:pt idx="6">
                  <c:v>253795.32163742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01-48BC-9D4B-21D539BDCD51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501-48BC-9D4B-21D539BDCD51}"/>
              </c:ext>
            </c:extLst>
          </c:dPt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501-48BC-9D4B-21D539BDCD51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1">
                  <c:v>100000</c:v>
                </c:pt>
                <c:pt idx="2">
                  <c:v>1000</c:v>
                </c:pt>
                <c:pt idx="3">
                  <c:v>1000</c:v>
                </c:pt>
                <c:pt idx="4">
                  <c:v>35000</c:v>
                </c:pt>
                <c:pt idx="5">
                  <c:v>3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501-48BC-9D4B-21D539BDCD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2375528"/>
        <c:axId val="1"/>
      </c:barChart>
      <c:catAx>
        <c:axId val="612375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3795.321637426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23755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9755351681957186E-2"/>
          <c:w val="0.98218873094707992"/>
          <c:h val="0.9204892966360855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869-4511-B04A-71C4B62CAD88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869-4511-B04A-71C4B62CAD88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7424666.6666666642</c:v>
                </c:pt>
                <c:pt idx="1">
                  <c:v>5424666.6666666642</c:v>
                </c:pt>
                <c:pt idx="2">
                  <c:v>5424666.6666666642</c:v>
                </c:pt>
                <c:pt idx="3">
                  <c:v>4724666.6666666642</c:v>
                </c:pt>
                <c:pt idx="4">
                  <c:v>3724666.6666666642</c:v>
                </c:pt>
                <c:pt idx="8">
                  <c:v>3724666.66666666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69-4511-B04A-71C4B62CAD88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869-4511-B04A-71C4B62CAD88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2000000</c:v>
                </c:pt>
                <c:pt idx="2">
                  <c:v>3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869-4511-B04A-71C4B62CAD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9410872"/>
        <c:axId val="1"/>
      </c:barChart>
      <c:catAx>
        <c:axId val="819410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24666.66666666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9410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883424521847022E-3"/>
          <c:y val="0.13771131025876693"/>
          <c:w val="0.99451165754781534"/>
          <c:h val="0.834513144378478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.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4000000</c:v>
                </c:pt>
                <c:pt idx="1">
                  <c:v>4100000</c:v>
                </c:pt>
                <c:pt idx="2">
                  <c:v>4200000</c:v>
                </c:pt>
                <c:pt idx="3">
                  <c:v>4300000</c:v>
                </c:pt>
                <c:pt idx="4">
                  <c:v>4400000</c:v>
                </c:pt>
                <c:pt idx="5">
                  <c:v>4500000</c:v>
                </c:pt>
                <c:pt idx="6">
                  <c:v>4600000</c:v>
                </c:pt>
                <c:pt idx="7">
                  <c:v>4700000</c:v>
                </c:pt>
                <c:pt idx="8">
                  <c:v>4800000</c:v>
                </c:pt>
                <c:pt idx="9">
                  <c:v>4900000</c:v>
                </c:pt>
                <c:pt idx="10">
                  <c:v>5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.OP</c:v>
                </c:pt>
              </c:strCache>
            </c:strRef>
          </c:tx>
          <c:spPr>
            <a:solidFill>
              <a:schemeClr val="tx2"/>
            </a:solidFill>
            <a:ln w="9525"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3800000</c:v>
                </c:pt>
                <c:pt idx="1">
                  <c:v>3850000</c:v>
                </c:pt>
                <c:pt idx="2">
                  <c:v>3900000</c:v>
                </c:pt>
                <c:pt idx="3">
                  <c:v>3950000</c:v>
                </c:pt>
                <c:pt idx="4">
                  <c:v>4000000</c:v>
                </c:pt>
                <c:pt idx="5">
                  <c:v>4050000</c:v>
                </c:pt>
                <c:pt idx="6">
                  <c:v>4100000</c:v>
                </c:pt>
                <c:pt idx="7">
                  <c:v>4150000</c:v>
                </c:pt>
                <c:pt idx="8">
                  <c:v>4200000</c:v>
                </c:pt>
                <c:pt idx="9">
                  <c:v>4250000</c:v>
                </c:pt>
                <c:pt idx="10">
                  <c:v>43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.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15</c:v>
                </c:pt>
                <c:pt idx="1">
                  <c:v>0.15</c:v>
                </c:pt>
                <c:pt idx="2">
                  <c:v>0.15</c:v>
                </c:pt>
                <c:pt idx="3">
                  <c:v>0.15</c:v>
                </c:pt>
                <c:pt idx="4">
                  <c:v>0.15</c:v>
                </c:pt>
                <c:pt idx="5">
                  <c:v>0.15</c:v>
                </c:pt>
                <c:pt idx="6">
                  <c:v>0.15</c:v>
                </c:pt>
                <c:pt idx="7">
                  <c:v>0.15</c:v>
                </c:pt>
                <c:pt idx="8">
                  <c:v>0.15</c:v>
                </c:pt>
                <c:pt idx="9">
                  <c:v>0.15</c:v>
                </c:pt>
                <c:pt idx="10">
                  <c:v>0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.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2</c:v>
                </c:pt>
                <c:pt idx="9">
                  <c:v>0.2</c:v>
                </c:pt>
                <c:pt idx="10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100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  <c:max val="0.23"/>
          <c:min val="0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701569777471107E-3"/>
          <c:y val="3.5543403964456599E-2"/>
          <c:w val="0.98205968604450578"/>
          <c:h val="0.9289131920710869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B53-4D6C-BFEE-C2089FF00E28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B53-4D6C-BFEE-C2089FF00E28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5167300.3802281395</c:v>
                </c:pt>
                <c:pt idx="1">
                  <c:v>4167300.3802281395</c:v>
                </c:pt>
                <c:pt idx="2">
                  <c:v>4167300.3802281395</c:v>
                </c:pt>
                <c:pt idx="3">
                  <c:v>4797300.3802281395</c:v>
                </c:pt>
                <c:pt idx="4">
                  <c:v>4797300.3802281395</c:v>
                </c:pt>
                <c:pt idx="5">
                  <c:v>4997300.3802281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53-4D6C-BFEE-C2089FF00E28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B53-4D6C-BFEE-C2089FF00E28}"/>
              </c:ext>
            </c:extLst>
          </c:dPt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B53-4D6C-BFEE-C2089FF00E28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0</c:v>
                </c:pt>
                <c:pt idx="2">
                  <c:v>1000000</c:v>
                </c:pt>
                <c:pt idx="3">
                  <c:v>370000</c:v>
                </c:pt>
                <c:pt idx="4">
                  <c:v>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B53-4D6C-BFEE-C2089FF00E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48475384"/>
        <c:axId val="1"/>
      </c:barChart>
      <c:catAx>
        <c:axId val="548475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167300.38022813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8475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9938556067588324E-2"/>
          <c:w val="0.98218873094707992"/>
          <c:h val="0.9201228878648233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501-48BC-9D4B-21D539BDCD51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501-48BC-9D4B-21D539BDCD51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353795.32163742697</c:v>
                </c:pt>
                <c:pt idx="1">
                  <c:v>253795.32163742697</c:v>
                </c:pt>
                <c:pt idx="2">
                  <c:v>252795.32163742697</c:v>
                </c:pt>
                <c:pt idx="3">
                  <c:v>252795.32163742697</c:v>
                </c:pt>
                <c:pt idx="4">
                  <c:v>253795.32163742697</c:v>
                </c:pt>
                <c:pt idx="5">
                  <c:v>253795.32163742697</c:v>
                </c:pt>
                <c:pt idx="6">
                  <c:v>253795.32163742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01-48BC-9D4B-21D539BDCD51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501-48BC-9D4B-21D539BDCD51}"/>
              </c:ext>
            </c:extLst>
          </c:dPt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501-48BC-9D4B-21D539BDCD51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1">
                  <c:v>100000</c:v>
                </c:pt>
                <c:pt idx="2">
                  <c:v>1000</c:v>
                </c:pt>
                <c:pt idx="3">
                  <c:v>1000</c:v>
                </c:pt>
                <c:pt idx="4">
                  <c:v>35000</c:v>
                </c:pt>
                <c:pt idx="5">
                  <c:v>3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501-48BC-9D4B-21D539BDCD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2375528"/>
        <c:axId val="1"/>
      </c:barChart>
      <c:catAx>
        <c:axId val="612375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3795.321637426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23755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7463976945244955E-2"/>
          <c:w val="0.98218873094707992"/>
          <c:h val="0.9250720461095099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0EB-462C-A5F5-D07BC998418C}"/>
              </c:ext>
            </c:extLst>
          </c:dPt>
          <c:dPt>
            <c:idx val="7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0EB-462C-A5F5-D07BC998418C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2205875</c:v>
                </c:pt>
                <c:pt idx="1">
                  <c:v>2188875</c:v>
                </c:pt>
                <c:pt idx="2">
                  <c:v>2188875</c:v>
                </c:pt>
                <c:pt idx="3">
                  <c:v>1106874.9999999998</c:v>
                </c:pt>
                <c:pt idx="4">
                  <c:v>1106874.9999999998</c:v>
                </c:pt>
                <c:pt idx="5">
                  <c:v>1146874.9999999998</c:v>
                </c:pt>
                <c:pt idx="6">
                  <c:v>1196874.9999999998</c:v>
                </c:pt>
                <c:pt idx="7">
                  <c:v>1198874.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EB-462C-A5F5-D07BC998418C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0EB-462C-A5F5-D07BC998418C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0EB-462C-A5F5-D07BC998418C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0EB-462C-A5F5-D07BC998418C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1">
                  <c:v>17000</c:v>
                </c:pt>
                <c:pt idx="2">
                  <c:v>18000</c:v>
                </c:pt>
                <c:pt idx="3">
                  <c:v>1100000.0000000002</c:v>
                </c:pt>
                <c:pt idx="4">
                  <c:v>40000</c:v>
                </c:pt>
                <c:pt idx="5">
                  <c:v>50000</c:v>
                </c:pt>
                <c:pt idx="6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0EB-462C-A5F5-D07BC99841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4487896"/>
        <c:axId val="1"/>
      </c:barChart>
      <c:catAx>
        <c:axId val="764487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068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4487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5147266154714936"/>
          <c:w val="0.9938677182322756"/>
          <c:h val="0.778896525054005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#,##0</c:formatCode>
                <c:ptCount val="11"/>
                <c:pt idx="0">
                  <c:v>200000</c:v>
                </c:pt>
                <c:pt idx="1">
                  <c:v>210000</c:v>
                </c:pt>
                <c:pt idx="2">
                  <c:v>220000</c:v>
                </c:pt>
                <c:pt idx="3">
                  <c:v>230000</c:v>
                </c:pt>
                <c:pt idx="4">
                  <c:v>240000</c:v>
                </c:pt>
                <c:pt idx="5">
                  <c:v>250000</c:v>
                </c:pt>
                <c:pt idx="6">
                  <c:v>260000</c:v>
                </c:pt>
                <c:pt idx="7">
                  <c:v>270000</c:v>
                </c:pt>
                <c:pt idx="8">
                  <c:v>280000</c:v>
                </c:pt>
                <c:pt idx="9">
                  <c:v>290000</c:v>
                </c:pt>
                <c:pt idx="10">
                  <c:v>3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B4-4B83-B157-09EB9AD1FBB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rgbClr val="026F4E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-1.6687651059376764E-3"/>
                  <c:y val="5.484513586367114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D1C-4428-B94C-6C5563593F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#,##0</c:formatCode>
                <c:ptCount val="11"/>
                <c:pt idx="0">
                  <c:v>190000</c:v>
                </c:pt>
                <c:pt idx="1">
                  <c:v>200000</c:v>
                </c:pt>
                <c:pt idx="2">
                  <c:v>210000</c:v>
                </c:pt>
                <c:pt idx="3">
                  <c:v>220000</c:v>
                </c:pt>
                <c:pt idx="4">
                  <c:v>230000</c:v>
                </c:pt>
                <c:pt idx="5">
                  <c:v>240000</c:v>
                </c:pt>
                <c:pt idx="6">
                  <c:v>250000</c:v>
                </c:pt>
                <c:pt idx="7">
                  <c:v>260000</c:v>
                </c:pt>
                <c:pt idx="8">
                  <c:v>270000</c:v>
                </c:pt>
                <c:pt idx="9">
                  <c:v>280000</c:v>
                </c:pt>
                <c:pt idx="10">
                  <c:v>29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1668352"/>
        <c:axId val="211678336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 SP</c:v>
                </c:pt>
              </c:strCache>
            </c:strRef>
          </c:tx>
          <c:spPr>
            <a:ln w="19050">
              <a:solidFill>
                <a:schemeClr val="tx1"/>
              </a:solidFill>
              <a:prstDash val="sysDot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/>
                </a:solidFill>
                <a:prstDash val="sysDot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C9B4-4B83-B157-09EB9AD1FBBB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1</c:v>
                </c:pt>
                <c:pt idx="1">
                  <c:v>0.11</c:v>
                </c:pt>
                <c:pt idx="2">
                  <c:v>0.12</c:v>
                </c:pt>
                <c:pt idx="3">
                  <c:v>0.13</c:v>
                </c:pt>
                <c:pt idx="4">
                  <c:v>0.14000000000000001</c:v>
                </c:pt>
                <c:pt idx="5">
                  <c:v>0.15</c:v>
                </c:pt>
                <c:pt idx="6">
                  <c:v>0.16</c:v>
                </c:pt>
                <c:pt idx="7">
                  <c:v>0.17</c:v>
                </c:pt>
                <c:pt idx="8">
                  <c:v>0.18</c:v>
                </c:pt>
                <c:pt idx="9">
                  <c:v>0.19</c:v>
                </c:pt>
                <c:pt idx="10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9B4-4B83-B157-09EB9AD1FBB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 OP</c:v>
                </c:pt>
              </c:strCache>
            </c:strRef>
          </c:tx>
          <c:spPr>
            <a:ln w="22225">
              <a:solidFill>
                <a:srgbClr val="026F4E"/>
              </a:solidFill>
            </a:ln>
          </c:spPr>
          <c:marker>
            <c:symbol val="diamond"/>
            <c:size val="7"/>
            <c:spPr>
              <a:solidFill>
                <a:srgbClr val="026F4E"/>
              </a:solidFill>
              <a:ln>
                <a:solidFill>
                  <a:srgbClr val="026F4E"/>
                </a:solidFill>
              </a:ln>
            </c:spPr>
          </c:marker>
          <c:dLbls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12</c:v>
                </c:pt>
                <c:pt idx="1">
                  <c:v>0.12</c:v>
                </c:pt>
                <c:pt idx="2">
                  <c:v>0.12</c:v>
                </c:pt>
                <c:pt idx="3">
                  <c:v>0.12</c:v>
                </c:pt>
                <c:pt idx="4">
                  <c:v>0.12</c:v>
                </c:pt>
                <c:pt idx="5">
                  <c:v>0.12</c:v>
                </c:pt>
                <c:pt idx="6">
                  <c:v>0.12</c:v>
                </c:pt>
                <c:pt idx="7">
                  <c:v>0.12</c:v>
                </c:pt>
                <c:pt idx="8">
                  <c:v>0.12</c:v>
                </c:pt>
                <c:pt idx="9">
                  <c:v>0.12</c:v>
                </c:pt>
                <c:pt idx="10">
                  <c:v>0.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165376"/>
        <c:axId val="211680256"/>
      </c:lineChart>
      <c:catAx>
        <c:axId val="211668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211678336"/>
        <c:crosses val="autoZero"/>
        <c:auto val="1"/>
        <c:lblAlgn val="ctr"/>
        <c:lblOffset val="100"/>
        <c:noMultiLvlLbl val="0"/>
      </c:catAx>
      <c:valAx>
        <c:axId val="211678336"/>
        <c:scaling>
          <c:orientation val="minMax"/>
          <c:max val="4200000"/>
          <c:min val="0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211668352"/>
        <c:crosses val="autoZero"/>
        <c:crossBetween val="between"/>
        <c:dispUnits>
          <c:builtInUnit val="thousands"/>
        </c:dispUnits>
      </c:valAx>
      <c:valAx>
        <c:axId val="211680256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2165376"/>
        <c:crosses val="max"/>
        <c:crossBetween val="between"/>
      </c:valAx>
      <c:catAx>
        <c:axId val="212165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680256"/>
        <c:crosses val="autoZero"/>
        <c:auto val="1"/>
        <c:lblAlgn val="ctr"/>
        <c:lblOffset val="100"/>
        <c:noMultiLvlLbl val="0"/>
      </c:catAx>
      <c:spPr>
        <a:noFill/>
      </c:spPr>
    </c:plotArea>
    <c:legend>
      <c:legendPos val="r"/>
      <c:layout>
        <c:manualLayout>
          <c:xMode val="edge"/>
          <c:yMode val="edge"/>
          <c:x val="3.1337590848729634E-2"/>
          <c:y val="6.9198610336783806E-3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28166797797009E-2"/>
          <c:y val="3.5714285714285719E-2"/>
          <c:w val="0.97954366640440593"/>
          <c:h val="0.92857142857142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</c:v>
                </c:pt>
                <c:pt idx="1">
                  <c:v>200000</c:v>
                </c:pt>
                <c:pt idx="2">
                  <c:v>400000</c:v>
                </c:pt>
                <c:pt idx="3">
                  <c:v>600000</c:v>
                </c:pt>
                <c:pt idx="4">
                  <c:v>800000</c:v>
                </c:pt>
                <c:pt idx="5">
                  <c:v>1000000</c:v>
                </c:pt>
                <c:pt idx="6">
                  <c:v>1200000</c:v>
                </c:pt>
                <c:pt idx="7">
                  <c:v>1400000</c:v>
                </c:pt>
                <c:pt idx="8">
                  <c:v>1600000</c:v>
                </c:pt>
                <c:pt idx="9">
                  <c:v>1800000</c:v>
                </c:pt>
                <c:pt idx="10">
                  <c:v>2000000</c:v>
                </c:pt>
                <c:pt idx="11">
                  <c:v>2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8D-4480-B508-C015058DAC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591924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C8D-4480-B508-C015058DAC07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C8D-4480-B508-C015058DAC07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C8D-4480-B508-C015058DAC07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C8D-4480-B508-C015058DAC07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C8D-4480-B508-C015058DAC07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C8D-4480-B508-C015058DAC07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C8D-4480-B508-C015058DAC07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C8D-4480-B508-C015058DAC07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C8D-4480-B508-C015058DAC07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C8D-4480-B508-C015058DAC07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C8D-4480-B508-C015058DAC07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C8D-4480-B508-C015058DAC07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5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8C8D-4480-B508-C015058DAC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625919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625919240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52582159624413E-3"/>
          <c:y val="3.2520325203252029E-2"/>
          <c:w val="0.98046948356807517"/>
          <c:h val="0.934959349593495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</c:v>
                </c:pt>
                <c:pt idx="1">
                  <c:v>220000</c:v>
                </c:pt>
                <c:pt idx="2">
                  <c:v>390000</c:v>
                </c:pt>
                <c:pt idx="3">
                  <c:v>560000</c:v>
                </c:pt>
                <c:pt idx="4">
                  <c:v>730000</c:v>
                </c:pt>
                <c:pt idx="5">
                  <c:v>900000</c:v>
                </c:pt>
                <c:pt idx="6">
                  <c:v>1070000</c:v>
                </c:pt>
                <c:pt idx="7">
                  <c:v>1240000</c:v>
                </c:pt>
                <c:pt idx="8">
                  <c:v>1410000</c:v>
                </c:pt>
                <c:pt idx="9">
                  <c:v>1580000</c:v>
                </c:pt>
                <c:pt idx="10">
                  <c:v>1750000</c:v>
                </c:pt>
                <c:pt idx="11">
                  <c:v>192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7C-41C9-A0D8-CFE019747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9428912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67C-41C9-A0D8-CFE019747E53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67C-41C9-A0D8-CFE019747E53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67C-41C9-A0D8-CFE019747E53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67C-41C9-A0D8-CFE019747E53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67C-41C9-A0D8-CFE019747E53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67C-41C9-A0D8-CFE019747E53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67C-41C9-A0D8-CFE019747E53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67C-41C9-A0D8-CFE019747E53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67C-41C9-A0D8-CFE019747E53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67C-41C9-A0D8-CFE019747E53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67C-41C9-A0D8-CFE019747E53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67C-41C9-A0D8-CFE019747E53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4.8</c:v>
                </c:pt>
                <c:pt idx="6">
                  <c:v>4.8</c:v>
                </c:pt>
                <c:pt idx="7">
                  <c:v>4.8</c:v>
                </c:pt>
                <c:pt idx="8">
                  <c:v>4.8</c:v>
                </c:pt>
                <c:pt idx="9">
                  <c:v>4.8</c:v>
                </c:pt>
                <c:pt idx="10">
                  <c:v>4.8</c:v>
                </c:pt>
                <c:pt idx="11">
                  <c:v>4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E67C-41C9-A0D8-CFE019747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819428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819428912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6262626262626262E-2"/>
          <c:w val="0.98041800037657689"/>
          <c:h val="0.947474747474747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3000000</c:v>
                </c:pt>
                <c:pt idx="1">
                  <c:v>2000000</c:v>
                </c:pt>
                <c:pt idx="2">
                  <c:v>3000001</c:v>
                </c:pt>
                <c:pt idx="3">
                  <c:v>2000001</c:v>
                </c:pt>
                <c:pt idx="4">
                  <c:v>3000002</c:v>
                </c:pt>
                <c:pt idx="5">
                  <c:v>2000002</c:v>
                </c:pt>
                <c:pt idx="6">
                  <c:v>3000003</c:v>
                </c:pt>
                <c:pt idx="7">
                  <c:v>2000003</c:v>
                </c:pt>
                <c:pt idx="8">
                  <c:v>3000004</c:v>
                </c:pt>
                <c:pt idx="9">
                  <c:v>2000004</c:v>
                </c:pt>
                <c:pt idx="10">
                  <c:v>3000005</c:v>
                </c:pt>
                <c:pt idx="11">
                  <c:v>2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99-4437-803C-7BB8AA3F296C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30000</c:v>
                </c:pt>
                <c:pt idx="1">
                  <c:v>90000</c:v>
                </c:pt>
                <c:pt idx="2">
                  <c:v>30001</c:v>
                </c:pt>
                <c:pt idx="3">
                  <c:v>90001</c:v>
                </c:pt>
                <c:pt idx="4">
                  <c:v>30002</c:v>
                </c:pt>
                <c:pt idx="5">
                  <c:v>90002</c:v>
                </c:pt>
                <c:pt idx="6">
                  <c:v>30003</c:v>
                </c:pt>
                <c:pt idx="7">
                  <c:v>90003</c:v>
                </c:pt>
                <c:pt idx="8">
                  <c:v>30004</c:v>
                </c:pt>
                <c:pt idx="9">
                  <c:v>90004</c:v>
                </c:pt>
                <c:pt idx="10">
                  <c:v>30005</c:v>
                </c:pt>
                <c:pt idx="11">
                  <c:v>9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99-4437-803C-7BB8AA3F29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6305632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B99-4437-803C-7BB8AA3F296C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B99-4437-803C-7BB8AA3F296C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B99-4437-803C-7BB8AA3F296C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B99-4437-803C-7BB8AA3F296C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B99-4437-803C-7BB8AA3F296C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B99-4437-803C-7BB8AA3F296C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B99-4437-803C-7BB8AA3F296C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B99-4437-803C-7BB8AA3F296C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B99-4437-803C-7BB8AA3F296C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B99-4437-803C-7BB8AA3F296C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B99-4437-803C-7BB8AA3F296C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B99-4437-803C-7BB8AA3F296C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10</c:v>
                </c:pt>
                <c:pt idx="1">
                  <c:v>11</c:v>
                </c:pt>
                <c:pt idx="2">
                  <c:v>10</c:v>
                </c:pt>
                <c:pt idx="3">
                  <c:v>11</c:v>
                </c:pt>
                <c:pt idx="4">
                  <c:v>11</c:v>
                </c:pt>
                <c:pt idx="5">
                  <c:v>11.200000000000001</c:v>
                </c:pt>
                <c:pt idx="6">
                  <c:v>11.4</c:v>
                </c:pt>
                <c:pt idx="7">
                  <c:v>11.600000000000001</c:v>
                </c:pt>
                <c:pt idx="8">
                  <c:v>11.799999999999999</c:v>
                </c:pt>
                <c:pt idx="9">
                  <c:v>12</c:v>
                </c:pt>
                <c:pt idx="10">
                  <c:v>12.2</c:v>
                </c:pt>
                <c:pt idx="11">
                  <c:v>12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8B99-4437-803C-7BB8AA3F29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676305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676305632"/>
        <c:crosses val="min"/>
        <c:crossBetween val="between"/>
        <c:majorUnit val="500000"/>
      </c:valAx>
      <c:valAx>
        <c:axId val="2"/>
        <c:scaling>
          <c:orientation val="minMax"/>
          <c:max val="13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1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8053663416043"/>
          <c:y val="2.8324619078141572E-2"/>
          <c:w val="0.87690155481656074"/>
          <c:h val="0.7086414476578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 66</c:v>
                </c:pt>
              </c:strCache>
            </c:strRef>
          </c:tx>
          <c:spPr>
            <a:ln w="28575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B$2:$B$22</c:f>
            </c:numRef>
          </c:val>
          <c:smooth val="0"/>
          <c:extLst>
            <c:ext xmlns:c16="http://schemas.microsoft.com/office/drawing/2014/chart" uri="{C3380CC4-5D6E-409C-BE32-E72D297353CC}">
              <c16:uniqueId val="{00000000-571D-4A5E-A8E0-E10FDBC566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7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C$2:$C$22</c:f>
            </c:numRef>
          </c:val>
          <c:smooth val="0"/>
          <c:extLst>
            <c:ext xmlns:c16="http://schemas.microsoft.com/office/drawing/2014/chart" uri="{C3380CC4-5D6E-409C-BE32-E72D297353CC}">
              <c16:uniqueId val="{00000001-571D-4A5E-A8E0-E10FDBC566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68.S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D$2:$D$22</c:f>
            </c:numRef>
          </c:val>
          <c:smooth val="0"/>
          <c:extLst>
            <c:ext xmlns:c16="http://schemas.microsoft.com/office/drawing/2014/chart" uri="{C3380CC4-5D6E-409C-BE32-E72D297353CC}">
              <c16:uniqueId val="{00000006-571D-4A5E-A8E0-E10FDBC566A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68.O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8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E$2:$E$22</c:f>
            </c:numRef>
          </c:val>
          <c:smooth val="0"/>
          <c:extLst>
            <c:ext xmlns:c16="http://schemas.microsoft.com/office/drawing/2014/chart" uri="{C3380CC4-5D6E-409C-BE32-E72D297353CC}">
              <c16:uniqueId val="{0000000B-571D-4A5E-A8E0-E10FDBC566A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R69 SP</c:v>
                </c:pt>
              </c:strCache>
            </c:strRef>
          </c:tx>
          <c:spPr>
            <a:ln w="38100">
              <a:solidFill>
                <a:srgbClr val="FFFFFF">
                  <a:lumMod val="65000"/>
                </a:srgbClr>
              </a:solidFill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F$2:$F$22</c:f>
              <c:numCache>
                <c:formatCode>#,##0,</c:formatCode>
                <c:ptCount val="14"/>
                <c:pt idx="0">
                  <c:v>20000000</c:v>
                </c:pt>
                <c:pt idx="1">
                  <c:v>22745059</c:v>
                </c:pt>
                <c:pt idx="2">
                  <c:v>21273064</c:v>
                </c:pt>
                <c:pt idx="3">
                  <c:v>21700000</c:v>
                </c:pt>
                <c:pt idx="4">
                  <c:v>22000000</c:v>
                </c:pt>
                <c:pt idx="5">
                  <c:v>22500000</c:v>
                </c:pt>
                <c:pt idx="6">
                  <c:v>23400000</c:v>
                </c:pt>
                <c:pt idx="7">
                  <c:v>24500000</c:v>
                </c:pt>
                <c:pt idx="8">
                  <c:v>25800000</c:v>
                </c:pt>
                <c:pt idx="9">
                  <c:v>27100000</c:v>
                </c:pt>
                <c:pt idx="10">
                  <c:v>28300000</c:v>
                </c:pt>
                <c:pt idx="11">
                  <c:v>29200000</c:v>
                </c:pt>
                <c:pt idx="12">
                  <c:v>30000000</c:v>
                </c:pt>
                <c:pt idx="13">
                  <c:v>305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87-4797-AB61-F8BA1135F2A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PR69 OP</c:v>
                </c:pt>
              </c:strCache>
            </c:strRef>
          </c:tx>
          <c:spPr>
            <a:ln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5-E079-437D-9B7D-ADF14DBF23A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6-E079-437D-9B7D-ADF14DBF23A7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G$2:$G$22</c:f>
              <c:numCache>
                <c:formatCode>#,##0,</c:formatCode>
                <c:ptCount val="14"/>
                <c:pt idx="0">
                  <c:v>23852192</c:v>
                </c:pt>
                <c:pt idx="1">
                  <c:v>22745059</c:v>
                </c:pt>
                <c:pt idx="2">
                  <c:v>21273064</c:v>
                </c:pt>
                <c:pt idx="3">
                  <c:v>19000000</c:v>
                </c:pt>
                <c:pt idx="4">
                  <c:v>21200000</c:v>
                </c:pt>
                <c:pt idx="5">
                  <c:v>22500000</c:v>
                </c:pt>
                <c:pt idx="6">
                  <c:v>23400000</c:v>
                </c:pt>
                <c:pt idx="7">
                  <c:v>24500000</c:v>
                </c:pt>
                <c:pt idx="8">
                  <c:v>25800000</c:v>
                </c:pt>
                <c:pt idx="9">
                  <c:v>27100000</c:v>
                </c:pt>
                <c:pt idx="10">
                  <c:v>28300000</c:v>
                </c:pt>
                <c:pt idx="11">
                  <c:v>29200000</c:v>
                </c:pt>
                <c:pt idx="12">
                  <c:v>30000000</c:v>
                </c:pt>
                <c:pt idx="13">
                  <c:v>305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079-437D-9B7D-ADF14DBF2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931072"/>
        <c:axId val="124936960"/>
      </c:lineChart>
      <c:catAx>
        <c:axId val="124931072"/>
        <c:scaling>
          <c:orientation val="minMax"/>
        </c:scaling>
        <c:delete val="1"/>
        <c:axPos val="b"/>
        <c:numFmt formatCode="0," sourceLinked="0"/>
        <c:majorTickMark val="out"/>
        <c:minorTickMark val="none"/>
        <c:tickLblPos val="nextTo"/>
        <c:crossAx val="124936960"/>
        <c:crossesAt val="1000000000"/>
        <c:auto val="1"/>
        <c:lblAlgn val="ctr"/>
        <c:lblOffset val="100"/>
        <c:noMultiLvlLbl val="0"/>
      </c:catAx>
      <c:valAx>
        <c:axId val="124936960"/>
        <c:scaling>
          <c:orientation val="minMax"/>
          <c:min val="18000000"/>
        </c:scaling>
        <c:delete val="0"/>
        <c:axPos val="l"/>
        <c:numFmt formatCode="#,##0," sourceLinked="0"/>
        <c:majorTickMark val="out"/>
        <c:minorTickMark val="none"/>
        <c:tickLblPos val="nextTo"/>
        <c:txPr>
          <a:bodyPr/>
          <a:lstStyle/>
          <a:p>
            <a:pPr>
              <a:defRPr sz="900" b="0"/>
            </a:pPr>
            <a:endParaRPr lang="en-US"/>
          </a:p>
        </c:txPr>
        <c:crossAx val="124931072"/>
        <c:crosses val="autoZero"/>
        <c:crossBetween val="between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900"/>
            </a:pPr>
            <a:endParaRPr lang="en-US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n-US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854723372224322E-3"/>
          <c:y val="2.5316455696202531E-2"/>
          <c:w val="0.98042905532555513"/>
          <c:h val="0.9493670886075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0000</c:v>
                </c:pt>
                <c:pt idx="1">
                  <c:v>200000</c:v>
                </c:pt>
                <c:pt idx="2">
                  <c:v>10001</c:v>
                </c:pt>
                <c:pt idx="3">
                  <c:v>200001</c:v>
                </c:pt>
                <c:pt idx="4">
                  <c:v>10002</c:v>
                </c:pt>
                <c:pt idx="5">
                  <c:v>200002</c:v>
                </c:pt>
                <c:pt idx="6">
                  <c:v>10003</c:v>
                </c:pt>
                <c:pt idx="7">
                  <c:v>200003</c:v>
                </c:pt>
                <c:pt idx="8">
                  <c:v>10004</c:v>
                </c:pt>
                <c:pt idx="9">
                  <c:v>200004</c:v>
                </c:pt>
                <c:pt idx="10">
                  <c:v>10005</c:v>
                </c:pt>
                <c:pt idx="11">
                  <c:v>2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E2-4AE0-8D25-191E847532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3494048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BE2-4AE0-8D25-191E84753215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BE2-4AE0-8D25-191E84753215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BE2-4AE0-8D25-191E84753215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BE2-4AE0-8D25-191E84753215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BE2-4AE0-8D25-191E84753215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BE2-4AE0-8D25-191E84753215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BE2-4AE0-8D25-191E84753215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BE2-4AE0-8D25-191E84753215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DBE2-4AE0-8D25-191E84753215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DBE2-4AE0-8D25-191E84753215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BE2-4AE0-8D25-191E84753215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BE2-4AE0-8D25-191E84753215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.0000000000000009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DBE2-4AE0-8D25-191E847532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853494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853494048"/>
        <c:crosses val="min"/>
        <c:crossBetween val="between"/>
      </c:valAx>
      <c:valAx>
        <c:axId val="2"/>
        <c:scaling>
          <c:orientation val="minMax"/>
          <c:max val="24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2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43119266055051E-3"/>
          <c:y val="2.8337874659400547E-2"/>
          <c:w val="0.9816513761467891"/>
          <c:h val="0.9433242506811989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BD0-4C19-93BB-327C48D5969D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BD0-4C19-93BB-327C48D5969D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64494.3820224721</c:v>
                </c:pt>
                <c:pt idx="1">
                  <c:v>124494.3820224721</c:v>
                </c:pt>
                <c:pt idx="2">
                  <c:v>124494.3820224721</c:v>
                </c:pt>
                <c:pt idx="3">
                  <c:v>164494.3820224721</c:v>
                </c:pt>
                <c:pt idx="4">
                  <c:v>164494.3820224721</c:v>
                </c:pt>
                <c:pt idx="5">
                  <c:v>194494.38202247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D0-4C19-93BB-327C48D5969D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BD0-4C19-93BB-327C48D5969D}"/>
              </c:ext>
            </c:extLst>
          </c:dPt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BD0-4C19-93BB-327C48D5969D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40000</c:v>
                </c:pt>
                <c:pt idx="2">
                  <c:v>50000</c:v>
                </c:pt>
                <c:pt idx="3">
                  <c:v>10000</c:v>
                </c:pt>
                <c:pt idx="4">
                  <c:v>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D0-4C19-93BB-327C48D596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9718088"/>
        <c:axId val="1"/>
      </c:barChart>
      <c:catAx>
        <c:axId val="6797180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4494.38202247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797180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01013909576674E-2"/>
          <c:y val="9.595703236874234E-2"/>
          <c:w val="0.91327734978168673"/>
          <c:h val="0.844241255943659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3000000</c:v>
                </c:pt>
                <c:pt idx="1">
                  <c:v>3000000</c:v>
                </c:pt>
                <c:pt idx="2">
                  <c:v>3000000</c:v>
                </c:pt>
                <c:pt idx="3">
                  <c:v>3000000</c:v>
                </c:pt>
                <c:pt idx="4">
                  <c:v>3000000</c:v>
                </c:pt>
                <c:pt idx="5">
                  <c:v>3000000</c:v>
                </c:pt>
                <c:pt idx="6">
                  <c:v>3000000</c:v>
                </c:pt>
                <c:pt idx="7">
                  <c:v>3000000</c:v>
                </c:pt>
                <c:pt idx="8">
                  <c:v>3000000</c:v>
                </c:pt>
                <c:pt idx="9">
                  <c:v>3000000</c:v>
                </c:pt>
                <c:pt idx="10">
                  <c:v>3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2500000</c:v>
                </c:pt>
                <c:pt idx="1">
                  <c:v>2500000</c:v>
                </c:pt>
                <c:pt idx="2">
                  <c:v>2500000</c:v>
                </c:pt>
                <c:pt idx="3">
                  <c:v>2500000</c:v>
                </c:pt>
                <c:pt idx="4">
                  <c:v>2500000</c:v>
                </c:pt>
                <c:pt idx="5">
                  <c:v>2500000</c:v>
                </c:pt>
                <c:pt idx="6">
                  <c:v>2500000</c:v>
                </c:pt>
                <c:pt idx="7">
                  <c:v>2500000</c:v>
                </c:pt>
                <c:pt idx="8">
                  <c:v>2500000</c:v>
                </c:pt>
                <c:pt idx="9">
                  <c:v>2500000</c:v>
                </c:pt>
                <c:pt idx="10">
                  <c:v>2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 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dLbl>
              <c:idx val="6"/>
              <c:layout>
                <c:manualLayout>
                  <c:x val="-3.2653927722050224E-2"/>
                  <c:y val="-4.30639409215047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393A-47F2-9762-F342515206B5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15</c:v>
                </c:pt>
                <c:pt idx="1">
                  <c:v>0.14000000000000001</c:v>
                </c:pt>
                <c:pt idx="2">
                  <c:v>0.13</c:v>
                </c:pt>
                <c:pt idx="3">
                  <c:v>0.12</c:v>
                </c:pt>
                <c:pt idx="4">
                  <c:v>0.11</c:v>
                </c:pt>
                <c:pt idx="5">
                  <c:v>0.1</c:v>
                </c:pt>
                <c:pt idx="6">
                  <c:v>9.0000000000000094E-2</c:v>
                </c:pt>
                <c:pt idx="7">
                  <c:v>8.0000000000000099E-2</c:v>
                </c:pt>
                <c:pt idx="8">
                  <c:v>7.0000000000000201E-2</c:v>
                </c:pt>
                <c:pt idx="9">
                  <c:v>6.0000000000000199E-2</c:v>
                </c:pt>
                <c:pt idx="10">
                  <c:v>5.00000000000001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 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dLbl>
              <c:idx val="6"/>
              <c:layout>
                <c:manualLayout>
                  <c:x val="-3.0099183098614216E-2"/>
                  <c:y val="5.40496401361742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93A-47F2-9762-F342515206B5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14000000000000001</c:v>
                </c:pt>
                <c:pt idx="1">
                  <c:v>0.15</c:v>
                </c:pt>
                <c:pt idx="2">
                  <c:v>0.16</c:v>
                </c:pt>
                <c:pt idx="3">
                  <c:v>0.17</c:v>
                </c:pt>
                <c:pt idx="4">
                  <c:v>0.18</c:v>
                </c:pt>
                <c:pt idx="5">
                  <c:v>0.19</c:v>
                </c:pt>
                <c:pt idx="6">
                  <c:v>0.2</c:v>
                </c:pt>
                <c:pt idx="7">
                  <c:v>0.21</c:v>
                </c:pt>
                <c:pt idx="8">
                  <c:v>0.22</c:v>
                </c:pt>
                <c:pt idx="9">
                  <c:v>0.23</c:v>
                </c:pt>
                <c:pt idx="10">
                  <c:v>0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6500000"/>
          <c:min val="-1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  <c:minorUnit val="100000"/>
      </c:valAx>
      <c:valAx>
        <c:axId val="210962304"/>
        <c:scaling>
          <c:orientation val="minMax"/>
          <c:min val="1.0000000000000002E-2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95386702849387E-3"/>
          <c:y val="3.1325301204819279E-2"/>
          <c:w val="0.98236092265943009"/>
          <c:h val="0.937349397590361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DF0-4589-B674-D04D7E0F6411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DF0-4589-B674-D04D7E0F6411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2012068.9655172415</c:v>
                </c:pt>
                <c:pt idx="1">
                  <c:v>1412068.9655172415</c:v>
                </c:pt>
                <c:pt idx="2">
                  <c:v>1412068.9655172415</c:v>
                </c:pt>
                <c:pt idx="3">
                  <c:v>1412068.9655172415</c:v>
                </c:pt>
                <c:pt idx="4">
                  <c:v>1412068.9655172415</c:v>
                </c:pt>
                <c:pt idx="5">
                  <c:v>1612068.9655172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DF0-4589-B674-D04D7E0F6411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DF0-4589-B674-D04D7E0F6411}"/>
              </c:ext>
            </c:extLst>
          </c:dPt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DF0-4589-B674-D04D7E0F6411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600000</c:v>
                </c:pt>
                <c:pt idx="2">
                  <c:v>300000</c:v>
                </c:pt>
                <c:pt idx="3">
                  <c:v>300000</c:v>
                </c:pt>
                <c:pt idx="4">
                  <c:v>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DF0-4589-B674-D04D7E0F64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9719400"/>
        <c:axId val="1"/>
      </c:barChart>
      <c:catAx>
        <c:axId val="679719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12068.965517241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797194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3534906000934571"/>
          <c:w val="1"/>
          <c:h val="0.789585592400836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#,##0</c:formatCode>
                <c:ptCount val="11"/>
                <c:pt idx="0">
                  <c:v>1000000</c:v>
                </c:pt>
                <c:pt idx="1">
                  <c:v>1100000</c:v>
                </c:pt>
                <c:pt idx="2">
                  <c:v>1200000</c:v>
                </c:pt>
                <c:pt idx="3">
                  <c:v>1300000</c:v>
                </c:pt>
                <c:pt idx="4">
                  <c:v>1400000</c:v>
                </c:pt>
                <c:pt idx="5">
                  <c:v>1500000</c:v>
                </c:pt>
                <c:pt idx="6">
                  <c:v>1600000</c:v>
                </c:pt>
                <c:pt idx="7">
                  <c:v>1700000</c:v>
                </c:pt>
                <c:pt idx="8">
                  <c:v>1800000</c:v>
                </c:pt>
                <c:pt idx="9">
                  <c:v>1900000</c:v>
                </c:pt>
                <c:pt idx="10">
                  <c:v>2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B4-4B83-B157-09EB9AD1FBB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rgbClr val="026F4E"/>
            </a:solidFill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#,##0</c:formatCode>
                <c:ptCount val="11"/>
                <c:pt idx="0">
                  <c:v>900000</c:v>
                </c:pt>
                <c:pt idx="1">
                  <c:v>1000000</c:v>
                </c:pt>
                <c:pt idx="2">
                  <c:v>1100000</c:v>
                </c:pt>
                <c:pt idx="3">
                  <c:v>1200000</c:v>
                </c:pt>
                <c:pt idx="4">
                  <c:v>1300000</c:v>
                </c:pt>
                <c:pt idx="5">
                  <c:v>1400000</c:v>
                </c:pt>
                <c:pt idx="6">
                  <c:v>1500000</c:v>
                </c:pt>
                <c:pt idx="7">
                  <c:v>1600000</c:v>
                </c:pt>
                <c:pt idx="8">
                  <c:v>1700000</c:v>
                </c:pt>
                <c:pt idx="9">
                  <c:v>1800000</c:v>
                </c:pt>
                <c:pt idx="10">
                  <c:v>19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1668352"/>
        <c:axId val="211678336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 SP</c:v>
                </c:pt>
              </c:strCache>
            </c:strRef>
          </c:tx>
          <c:spPr>
            <a:ln w="19050">
              <a:solidFill>
                <a:schemeClr val="tx1"/>
              </a:solidFill>
              <a:prstDash val="sysDot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/>
                </a:solidFill>
                <a:prstDash val="sysDot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C9B4-4B83-B157-09EB9AD1FBBB}"/>
              </c:ext>
            </c:extLst>
          </c:dPt>
          <c:dLbls>
            <c:dLbl>
              <c:idx val="0"/>
              <c:layout>
                <c:manualLayout>
                  <c:x val="-3.193769183907777E-2"/>
                  <c:y val="5.43098146477823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F0B-470C-96D4-695C856651B7}"/>
                </c:ext>
              </c:extLst>
            </c:dLbl>
            <c:dLbl>
              <c:idx val="1"/>
              <c:layout>
                <c:manualLayout>
                  <c:x val="-2.4498435998969049E-2"/>
                  <c:y val="7.217488525560555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9B4-4B83-B157-09EB9AD1FBBB}"/>
                </c:ext>
              </c:extLst>
            </c:dLbl>
            <c:dLbl>
              <c:idx val="6"/>
              <c:layout>
                <c:manualLayout>
                  <c:x val="-3.3797505799104878E-2"/>
                  <c:y val="-4.2925446113345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  <c:pt idx="9">
                  <c:v>0.1</c:v>
                </c:pt>
                <c:pt idx="10">
                  <c:v>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9B4-4B83-B157-09EB9AD1FBB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 OP</c:v>
                </c:pt>
              </c:strCache>
            </c:strRef>
          </c:tx>
          <c:spPr>
            <a:ln w="22225">
              <a:solidFill>
                <a:srgbClr val="026F4E"/>
              </a:solidFill>
            </a:ln>
          </c:spPr>
          <c:marker>
            <c:symbol val="diamond"/>
            <c:size val="7"/>
            <c:spPr>
              <a:solidFill>
                <a:srgbClr val="026F4E"/>
              </a:solidFill>
              <a:ln>
                <a:solidFill>
                  <a:srgbClr val="026F4E"/>
                </a:solidFill>
              </a:ln>
            </c:spPr>
          </c:marker>
          <c:dLbls>
            <c:dLbl>
              <c:idx val="6"/>
              <c:layout>
                <c:manualLayout>
                  <c:x val="-3.0077877879050655E-2"/>
                  <c:y val="5.17189850019774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D8C-4CC0-80D6-870345E78923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09</c:v>
                </c:pt>
                <c:pt idx="1">
                  <c:v>0.09</c:v>
                </c:pt>
                <c:pt idx="2">
                  <c:v>0.09</c:v>
                </c:pt>
                <c:pt idx="3">
                  <c:v>0.09</c:v>
                </c:pt>
                <c:pt idx="4">
                  <c:v>0.09</c:v>
                </c:pt>
                <c:pt idx="5">
                  <c:v>0.09</c:v>
                </c:pt>
                <c:pt idx="6">
                  <c:v>0.09</c:v>
                </c:pt>
                <c:pt idx="7">
                  <c:v>0.09</c:v>
                </c:pt>
                <c:pt idx="8">
                  <c:v>0.09</c:v>
                </c:pt>
                <c:pt idx="9">
                  <c:v>0.09</c:v>
                </c:pt>
                <c:pt idx="10">
                  <c:v>0.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165376"/>
        <c:axId val="211680256"/>
      </c:lineChart>
      <c:catAx>
        <c:axId val="211668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211678336"/>
        <c:crosses val="autoZero"/>
        <c:auto val="1"/>
        <c:lblAlgn val="ctr"/>
        <c:lblOffset val="100"/>
        <c:noMultiLvlLbl val="0"/>
      </c:catAx>
      <c:valAx>
        <c:axId val="211678336"/>
        <c:scaling>
          <c:orientation val="minMax"/>
          <c:max val="4200000"/>
          <c:min val="0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211668352"/>
        <c:crosses val="autoZero"/>
        <c:crossBetween val="between"/>
        <c:dispUnits>
          <c:builtInUnit val="thousands"/>
        </c:dispUnits>
      </c:valAx>
      <c:valAx>
        <c:axId val="211680256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2165376"/>
        <c:crosses val="max"/>
        <c:crossBetween val="between"/>
      </c:valAx>
      <c:catAx>
        <c:axId val="212165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680256"/>
        <c:crosses val="autoZero"/>
        <c:auto val="1"/>
        <c:lblAlgn val="ctr"/>
        <c:lblOffset val="100"/>
        <c:noMultiLvlLbl val="0"/>
      </c:catAx>
      <c:spPr>
        <a:noFill/>
      </c:spPr>
    </c:plotArea>
    <c:legend>
      <c:legendPos val="r"/>
      <c:layout>
        <c:manualLayout>
          <c:xMode val="edge"/>
          <c:yMode val="edge"/>
          <c:x val="6.6320723606661358E-2"/>
          <c:y val="2.121188761492022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52582159624413E-3"/>
          <c:y val="3.2520325203252029E-2"/>
          <c:w val="0.98046948356807517"/>
          <c:h val="0.934959349593495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</c:v>
                </c:pt>
                <c:pt idx="1">
                  <c:v>220000</c:v>
                </c:pt>
                <c:pt idx="2">
                  <c:v>390000</c:v>
                </c:pt>
                <c:pt idx="3">
                  <c:v>560000</c:v>
                </c:pt>
                <c:pt idx="4">
                  <c:v>730000</c:v>
                </c:pt>
                <c:pt idx="5">
                  <c:v>900000</c:v>
                </c:pt>
                <c:pt idx="6">
                  <c:v>1070000</c:v>
                </c:pt>
                <c:pt idx="7">
                  <c:v>1240000</c:v>
                </c:pt>
                <c:pt idx="8">
                  <c:v>1410000</c:v>
                </c:pt>
                <c:pt idx="9">
                  <c:v>1580000</c:v>
                </c:pt>
                <c:pt idx="10">
                  <c:v>1750000</c:v>
                </c:pt>
                <c:pt idx="11">
                  <c:v>192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7C-41C9-A0D8-CFE019747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9428912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67C-41C9-A0D8-CFE019747E53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67C-41C9-A0D8-CFE019747E53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67C-41C9-A0D8-CFE019747E53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67C-41C9-A0D8-CFE019747E53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67C-41C9-A0D8-CFE019747E53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67C-41C9-A0D8-CFE019747E53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67C-41C9-A0D8-CFE019747E53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67C-41C9-A0D8-CFE019747E53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67C-41C9-A0D8-CFE019747E53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67C-41C9-A0D8-CFE019747E53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67C-41C9-A0D8-CFE019747E53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67C-41C9-A0D8-CFE019747E53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4.8</c:v>
                </c:pt>
                <c:pt idx="6">
                  <c:v>4.8</c:v>
                </c:pt>
                <c:pt idx="7">
                  <c:v>4.8</c:v>
                </c:pt>
                <c:pt idx="8">
                  <c:v>4.8</c:v>
                </c:pt>
                <c:pt idx="9">
                  <c:v>4.8</c:v>
                </c:pt>
                <c:pt idx="10">
                  <c:v>4.8</c:v>
                </c:pt>
                <c:pt idx="11">
                  <c:v>4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E67C-41C9-A0D8-CFE019747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819428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819428912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6262626262626262E-2"/>
          <c:w val="0.98041800037657689"/>
          <c:h val="0.947474747474747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40000</c:v>
                </c:pt>
                <c:pt idx="1">
                  <c:v>50000</c:v>
                </c:pt>
                <c:pt idx="2">
                  <c:v>60000</c:v>
                </c:pt>
                <c:pt idx="3">
                  <c:v>70000</c:v>
                </c:pt>
                <c:pt idx="4">
                  <c:v>80000</c:v>
                </c:pt>
                <c:pt idx="5">
                  <c:v>90000</c:v>
                </c:pt>
                <c:pt idx="6">
                  <c:v>100000</c:v>
                </c:pt>
                <c:pt idx="7">
                  <c:v>110000</c:v>
                </c:pt>
                <c:pt idx="8">
                  <c:v>120000</c:v>
                </c:pt>
                <c:pt idx="9">
                  <c:v>130000</c:v>
                </c:pt>
                <c:pt idx="10">
                  <c:v>140000</c:v>
                </c:pt>
                <c:pt idx="11">
                  <c:v>1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0B-48E7-9FEA-C9805A2780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324006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90B-48E7-9FEA-C9805A2780D1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90B-48E7-9FEA-C9805A2780D1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90B-48E7-9FEA-C9805A2780D1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90B-48E7-9FEA-C9805A2780D1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90B-48E7-9FEA-C9805A2780D1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90B-48E7-9FEA-C9805A2780D1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90B-48E7-9FEA-C9805A2780D1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90B-48E7-9FEA-C9805A2780D1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90B-48E7-9FEA-C9805A2780D1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90B-48E7-9FEA-C9805A2780D1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90B-48E7-9FEA-C9805A2780D1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90B-48E7-9FEA-C9805A2780D1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0.2</c:v>
                </c:pt>
                <c:pt idx="1">
                  <c:v>1</c:v>
                </c:pt>
                <c:pt idx="2">
                  <c:v>1.7999999999999998</c:v>
                </c:pt>
                <c:pt idx="3">
                  <c:v>2.6</c:v>
                </c:pt>
                <c:pt idx="4">
                  <c:v>3.4000000000000004</c:v>
                </c:pt>
                <c:pt idx="5">
                  <c:v>4.2</c:v>
                </c:pt>
                <c:pt idx="6">
                  <c:v>5</c:v>
                </c:pt>
                <c:pt idx="7">
                  <c:v>5.8000000000000007</c:v>
                </c:pt>
                <c:pt idx="8">
                  <c:v>6.6000000000000005</c:v>
                </c:pt>
                <c:pt idx="9">
                  <c:v>7.3999999999999995</c:v>
                </c:pt>
                <c:pt idx="10">
                  <c:v>8.2000000000000011</c:v>
                </c:pt>
                <c:pt idx="11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190B-48E7-9FEA-C9805A2780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873240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873240064"/>
        <c:crosses val="min"/>
        <c:crossBetween val="between"/>
        <c:majorUnit val="50000"/>
      </c:valAx>
      <c:valAx>
        <c:axId val="2"/>
        <c:scaling>
          <c:orientation val="minMax"/>
          <c:max val="9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0.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43119266055051E-3"/>
          <c:y val="2.8337874659400547E-2"/>
          <c:w val="0.9816513761467891"/>
          <c:h val="0.9433242506811989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596-48FB-A909-840FF8CC08BB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596-48FB-A909-840FF8CC08BB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989245.58587479964</c:v>
                </c:pt>
                <c:pt idx="1">
                  <c:v>889245.58587479964</c:v>
                </c:pt>
                <c:pt idx="2">
                  <c:v>889245.58587479964</c:v>
                </c:pt>
                <c:pt idx="3">
                  <c:v>989245.58587479964</c:v>
                </c:pt>
                <c:pt idx="4">
                  <c:v>989245.58587479964</c:v>
                </c:pt>
                <c:pt idx="5">
                  <c:v>1389245.5858747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96-48FB-A909-840FF8CC08BB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596-48FB-A909-840FF8CC08BB}"/>
              </c:ext>
            </c:extLst>
          </c:dPt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596-48FB-A909-840FF8CC08BB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</c:v>
                </c:pt>
                <c:pt idx="2">
                  <c:v>300000</c:v>
                </c:pt>
                <c:pt idx="3">
                  <c:v>200000</c:v>
                </c:pt>
                <c:pt idx="4">
                  <c:v>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596-48FB-A909-840FF8CC08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2067488"/>
        <c:axId val="1"/>
      </c:barChart>
      <c:catAx>
        <c:axId val="752067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89245.5858747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2067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01013909576674E-2"/>
          <c:y val="9.595703236874234E-2"/>
          <c:w val="0.91327734978168673"/>
          <c:h val="0.844241255943659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200000</c:v>
                </c:pt>
                <c:pt idx="1">
                  <c:v>205000</c:v>
                </c:pt>
                <c:pt idx="2">
                  <c:v>210000</c:v>
                </c:pt>
                <c:pt idx="3">
                  <c:v>215000</c:v>
                </c:pt>
                <c:pt idx="4">
                  <c:v>220000</c:v>
                </c:pt>
                <c:pt idx="5">
                  <c:v>225000</c:v>
                </c:pt>
                <c:pt idx="6">
                  <c:v>230000</c:v>
                </c:pt>
                <c:pt idx="7">
                  <c:v>235000</c:v>
                </c:pt>
                <c:pt idx="8">
                  <c:v>240000</c:v>
                </c:pt>
                <c:pt idx="9">
                  <c:v>245000</c:v>
                </c:pt>
                <c:pt idx="10">
                  <c:v>2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180000</c:v>
                </c:pt>
                <c:pt idx="1">
                  <c:v>185000</c:v>
                </c:pt>
                <c:pt idx="2">
                  <c:v>190000</c:v>
                </c:pt>
                <c:pt idx="3">
                  <c:v>195000</c:v>
                </c:pt>
                <c:pt idx="4">
                  <c:v>200000</c:v>
                </c:pt>
                <c:pt idx="5">
                  <c:v>205000</c:v>
                </c:pt>
                <c:pt idx="6">
                  <c:v>210000</c:v>
                </c:pt>
                <c:pt idx="7">
                  <c:v>215000</c:v>
                </c:pt>
                <c:pt idx="8">
                  <c:v>220000</c:v>
                </c:pt>
                <c:pt idx="9">
                  <c:v>225000</c:v>
                </c:pt>
                <c:pt idx="10">
                  <c:v>2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 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01</c:v>
                </c:pt>
                <c:pt idx="1">
                  <c:v>1.2E-2</c:v>
                </c:pt>
                <c:pt idx="2">
                  <c:v>1.4E-2</c:v>
                </c:pt>
                <c:pt idx="3">
                  <c:v>1.6E-2</c:v>
                </c:pt>
                <c:pt idx="4">
                  <c:v>1.7999999999999999E-2</c:v>
                </c:pt>
                <c:pt idx="5">
                  <c:v>0.02</c:v>
                </c:pt>
                <c:pt idx="6">
                  <c:v>2.1999999999999999E-2</c:v>
                </c:pt>
                <c:pt idx="7">
                  <c:v>2.4E-2</c:v>
                </c:pt>
                <c:pt idx="8">
                  <c:v>2.5999999999999999E-2</c:v>
                </c:pt>
                <c:pt idx="9">
                  <c:v>2.8000000000000001E-2</c:v>
                </c:pt>
                <c:pt idx="10">
                  <c:v>0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 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01</c:v>
                </c:pt>
                <c:pt idx="1">
                  <c:v>1.2E-2</c:v>
                </c:pt>
                <c:pt idx="2">
                  <c:v>1.2999999999999999E-2</c:v>
                </c:pt>
                <c:pt idx="3">
                  <c:v>1.4E-2</c:v>
                </c:pt>
                <c:pt idx="4">
                  <c:v>1.4999999999999999E-2</c:v>
                </c:pt>
                <c:pt idx="5">
                  <c:v>1.4E-2</c:v>
                </c:pt>
                <c:pt idx="6">
                  <c:v>1.2999999999999999E-2</c:v>
                </c:pt>
                <c:pt idx="7">
                  <c:v>1.2E-2</c:v>
                </c:pt>
                <c:pt idx="8">
                  <c:v>1.0999999999999999E-2</c:v>
                </c:pt>
                <c:pt idx="9">
                  <c:v>1.0999999999999999E-2</c:v>
                </c:pt>
                <c:pt idx="10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5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  <c:min val="-3.0000000000000006E-2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6449643947100712E-2"/>
          <c:w val="0.98041800037657689"/>
          <c:h val="0.94710071210579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4">
                  <c:v>1000</c:v>
                </c:pt>
                <c:pt idx="5">
                  <c:v>20000</c:v>
                </c:pt>
                <c:pt idx="6">
                  <c:v>30000</c:v>
                </c:pt>
                <c:pt idx="7">
                  <c:v>40000</c:v>
                </c:pt>
                <c:pt idx="8">
                  <c:v>50000</c:v>
                </c:pt>
                <c:pt idx="9">
                  <c:v>60000</c:v>
                </c:pt>
                <c:pt idx="10">
                  <c:v>70000</c:v>
                </c:pt>
                <c:pt idx="11">
                  <c:v>8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34-4EBA-95F9-0ABB9E7BA3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5374632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734-4EBA-95F9-0ABB9E7BA335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6734-4EBA-95F9-0ABB9E7BA335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6734-4EBA-95F9-0ABB9E7BA335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6734-4EBA-95F9-0ABB9E7BA335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6734-4EBA-95F9-0ABB9E7BA335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6734-4EBA-95F9-0ABB9E7BA335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6734-4EBA-95F9-0ABB9E7BA335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734-4EBA-95F9-0ABB9E7BA335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4">
                  <c:v>0</c:v>
                </c:pt>
                <c:pt idx="5">
                  <c:v>0.1</c:v>
                </c:pt>
                <c:pt idx="6">
                  <c:v>0.2</c:v>
                </c:pt>
                <c:pt idx="7">
                  <c:v>0.3</c:v>
                </c:pt>
                <c:pt idx="8">
                  <c:v>0.4</c:v>
                </c:pt>
                <c:pt idx="9">
                  <c:v>0.5</c:v>
                </c:pt>
                <c:pt idx="10">
                  <c:v>0.6</c:v>
                </c:pt>
                <c:pt idx="11">
                  <c:v>0.700000000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6734-4EBA-95F9-0ABB9E7BA3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755374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755374632"/>
        <c:crosses val="min"/>
        <c:crossBetween val="between"/>
        <c:majorUnit val="50000"/>
      </c:valAx>
      <c:valAx>
        <c:axId val="2"/>
        <c:scaling>
          <c:orientation val="minMax"/>
          <c:max val="0.70000000000000007"/>
          <c:min val="-0.70000000000000007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3"/>
        <c:crosses val="max"/>
        <c:crossBetween val="between"/>
        <c:majorUnit val="0.1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022837997470204"/>
          <c:y val="7.6324624035839214E-2"/>
          <c:w val="0.87690155481656074"/>
          <c:h val="0.755885761064866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 66</c:v>
                </c:pt>
              </c:strCache>
            </c:strRef>
          </c:tx>
          <c:spPr>
            <a:ln w="28575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B$2:$B$22</c:f>
            </c:numRef>
          </c:val>
          <c:smooth val="0"/>
          <c:extLst>
            <c:ext xmlns:c16="http://schemas.microsoft.com/office/drawing/2014/chart" uri="{C3380CC4-5D6E-409C-BE32-E72D297353CC}">
              <c16:uniqueId val="{00000000-005F-4FC3-9341-233FF2A7A8B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7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C$2:$C$22</c:f>
            </c:numRef>
          </c:val>
          <c:smooth val="0"/>
          <c:extLst>
            <c:ext xmlns:c16="http://schemas.microsoft.com/office/drawing/2014/chart" uri="{C3380CC4-5D6E-409C-BE32-E72D297353CC}">
              <c16:uniqueId val="{00000001-005F-4FC3-9341-233FF2A7A8B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69 OP</c:v>
                </c:pt>
              </c:strCache>
            </c:strRef>
          </c:tx>
          <c:spPr>
            <a:ln w="28575">
              <a:solidFill>
                <a:srgbClr val="C00000"/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005F-4FC3-9341-233FF2A7A8B8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3-005F-4FC3-9341-233FF2A7A8B8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05F-4FC3-9341-233FF2A7A8B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05F-4FC3-9341-233FF2A7A8B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05F-4FC3-9341-233FF2A7A8B8}"/>
                </c:ext>
              </c:extLst>
            </c:dLbl>
            <c:dLbl>
              <c:idx val="3"/>
              <c:layout>
                <c:manualLayout>
                  <c:x val="-3.0438360323078031E-2"/>
                  <c:y val="2.5630663153045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005F-4FC3-9341-233FF2A7A8B8}"/>
                </c:ext>
              </c:extLst>
            </c:dLbl>
            <c:dLbl>
              <c:idx val="4"/>
              <c:layout>
                <c:manualLayout>
                  <c:x val="-2.4640577404396499E-2"/>
                  <c:y val="3.21588637771175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005F-4FC3-9341-233FF2A7A8B8}"/>
                </c:ext>
              </c:extLst>
            </c:dLbl>
            <c:dLbl>
              <c:idx val="5"/>
              <c:layout>
                <c:manualLayout>
                  <c:x val="-3.0438360323078083E-2"/>
                  <c:y val="3.2038328941307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005F-4FC3-9341-233FF2A7A8B8}"/>
                </c:ext>
              </c:extLst>
            </c:dLbl>
            <c:dLbl>
              <c:idx val="6"/>
              <c:layout>
                <c:manualLayout>
                  <c:x val="-2.1741685945055843E-2"/>
                  <c:y val="2.2426830258915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005F-4FC3-9341-233FF2A7A8B8}"/>
                </c:ext>
              </c:extLst>
            </c:dLbl>
            <c:dLbl>
              <c:idx val="7"/>
              <c:layout>
                <c:manualLayout>
                  <c:x val="-2.4640577404396607E-2"/>
                  <c:y val="2.2426830258915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005F-4FC3-9341-233FF2A7A8B8}"/>
                </c:ext>
              </c:extLst>
            </c:dLbl>
            <c:dLbl>
              <c:idx val="8"/>
              <c:layout>
                <c:manualLayout>
                  <c:x val="-2.3191131674726119E-2"/>
                  <c:y val="2.88344960471765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005F-4FC3-9341-233FF2A7A8B8}"/>
                </c:ext>
              </c:extLst>
            </c:dLbl>
            <c:dLbl>
              <c:idx val="13"/>
              <c:layout>
                <c:manualLayout>
                  <c:x val="-1.06321066839828E-16"/>
                  <c:y val="2.5306870715765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69B1-4E94-9B85-2F0B207846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D$2:$D$22</c:f>
              <c:numCache>
                <c:formatCode>_(* #,##0_);_(* \(#,##0\);_(* "-"??_);_(@_)</c:formatCode>
                <c:ptCount val="14"/>
                <c:pt idx="0">
                  <c:v>500</c:v>
                </c:pt>
                <c:pt idx="1">
                  <c:v>1000</c:v>
                </c:pt>
                <c:pt idx="2">
                  <c:v>1500</c:v>
                </c:pt>
                <c:pt idx="3">
                  <c:v>1700</c:v>
                </c:pt>
                <c:pt idx="4">
                  <c:v>1900</c:v>
                </c:pt>
                <c:pt idx="5">
                  <c:v>2100</c:v>
                </c:pt>
                <c:pt idx="6">
                  <c:v>2300</c:v>
                </c:pt>
                <c:pt idx="7">
                  <c:v>2500</c:v>
                </c:pt>
                <c:pt idx="8">
                  <c:v>2700</c:v>
                </c:pt>
                <c:pt idx="9">
                  <c:v>2900</c:v>
                </c:pt>
                <c:pt idx="10">
                  <c:v>3100</c:v>
                </c:pt>
                <c:pt idx="11">
                  <c:v>3300</c:v>
                </c:pt>
                <c:pt idx="12">
                  <c:v>3500</c:v>
                </c:pt>
                <c:pt idx="13">
                  <c:v>37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005F-4FC3-9341-233FF2A7A8B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69 SP</c:v>
                </c:pt>
              </c:strCache>
            </c:strRef>
          </c:tx>
          <c:spPr>
            <a:ln w="28575">
              <a:solidFill>
                <a:srgbClr val="003366"/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C-005F-4FC3-9341-233FF2A7A8B8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D-005F-4FC3-9341-233FF2A7A8B8}"/>
              </c:ext>
            </c:extLst>
          </c:dPt>
          <c:dLbls>
            <c:dLbl>
              <c:idx val="3"/>
              <c:layout>
                <c:manualLayout>
                  <c:x val="-4.6395183303213808E-2"/>
                  <c:y val="-2.89221379608754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005F-4FC3-9341-233FF2A7A8B8}"/>
                </c:ext>
              </c:extLst>
            </c:dLbl>
            <c:dLbl>
              <c:idx val="4"/>
              <c:layout>
                <c:manualLayout>
                  <c:x val="-4.493117781433479E-2"/>
                  <c:y val="-3.65756871854434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005F-4FC3-9341-233FF2A7A8B8}"/>
                </c:ext>
              </c:extLst>
            </c:dLbl>
            <c:dLbl>
              <c:idx val="5"/>
              <c:layout>
                <c:manualLayout>
                  <c:x val="-5.0730575727236507E-2"/>
                  <c:y val="-3.34924620254605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005F-4FC3-9341-233FF2A7A8B8}"/>
                </c:ext>
              </c:extLst>
            </c:dLbl>
            <c:dLbl>
              <c:idx val="6"/>
              <c:layout>
                <c:manualLayout>
                  <c:x val="-3.9144337652819272E-2"/>
                  <c:y val="-3.20053631208580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005F-4FC3-9341-233FF2A7A8B8}"/>
                </c:ext>
              </c:extLst>
            </c:dLbl>
            <c:dLbl>
              <c:idx val="7"/>
              <c:layout>
                <c:manualLayout>
                  <c:x val="-3.0446839042734028E-2"/>
                  <c:y val="-3.9767939696203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005F-4FC3-9341-233FF2A7A8B8}"/>
                </c:ext>
              </c:extLst>
            </c:dLbl>
            <c:dLbl>
              <c:idx val="8"/>
              <c:layout>
                <c:manualLayout>
                  <c:x val="-3.4796387477410422E-2"/>
                  <c:y val="-3.97679396962036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005F-4FC3-9341-233FF2A7A8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E$2:$E$22</c:f>
              <c:numCache>
                <c:formatCode>_(* #,##0_);_(* \(#,##0\);_(* "-"??_);_(@_)</c:formatCode>
                <c:ptCount val="14"/>
                <c:pt idx="0">
                  <c:v>550</c:v>
                </c:pt>
                <c:pt idx="1">
                  <c:v>1000</c:v>
                </c:pt>
                <c:pt idx="2">
                  <c:v>1500</c:v>
                </c:pt>
                <c:pt idx="3">
                  <c:v>1600</c:v>
                </c:pt>
                <c:pt idx="4">
                  <c:v>1700</c:v>
                </c:pt>
                <c:pt idx="5">
                  <c:v>1800</c:v>
                </c:pt>
                <c:pt idx="6">
                  <c:v>1900</c:v>
                </c:pt>
                <c:pt idx="7">
                  <c:v>2000</c:v>
                </c:pt>
                <c:pt idx="8">
                  <c:v>2100</c:v>
                </c:pt>
                <c:pt idx="9">
                  <c:v>2200</c:v>
                </c:pt>
                <c:pt idx="10">
                  <c:v>2300</c:v>
                </c:pt>
                <c:pt idx="11">
                  <c:v>2400</c:v>
                </c:pt>
                <c:pt idx="12">
                  <c:v>2500</c:v>
                </c:pt>
                <c:pt idx="13">
                  <c:v>26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005F-4FC3-9341-233FF2A7A8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931072"/>
        <c:axId val="124936960"/>
      </c:lineChart>
      <c:catAx>
        <c:axId val="124931072"/>
        <c:scaling>
          <c:orientation val="minMax"/>
        </c:scaling>
        <c:delete val="1"/>
        <c:axPos val="b"/>
        <c:numFmt formatCode="0," sourceLinked="0"/>
        <c:majorTickMark val="out"/>
        <c:minorTickMark val="none"/>
        <c:tickLblPos val="nextTo"/>
        <c:crossAx val="124936960"/>
        <c:crosses val="autoZero"/>
        <c:auto val="1"/>
        <c:lblAlgn val="ctr"/>
        <c:lblOffset val="100"/>
        <c:noMultiLvlLbl val="0"/>
      </c:catAx>
      <c:valAx>
        <c:axId val="124936960"/>
        <c:scaling>
          <c:orientation val="minMax"/>
        </c:scaling>
        <c:delete val="0"/>
        <c:axPos val="l"/>
        <c:numFmt formatCode="#,##0," sourceLinked="0"/>
        <c:majorTickMark val="out"/>
        <c:minorTickMark val="none"/>
        <c:tickLblPos val="nextTo"/>
        <c:crossAx val="124931072"/>
        <c:crosses val="autoZero"/>
        <c:crossBetween val="between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900"/>
            </a:pPr>
            <a:endParaRPr lang="en-US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>
          <a:latin typeface="VWAG TheSans" panose="020B0502050302020203" pitchFamily="34" charset="0"/>
        </a:defRPr>
      </a:pPr>
      <a:endParaRPr lang="en-US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43119266055051E-3"/>
          <c:y val="2.8337874659400547E-2"/>
          <c:w val="0.9816513761467891"/>
          <c:h val="0.9433242506811989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0FF-401B-AB17-7323FE0ABFED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0FF-401B-AB17-7323FE0ABFED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633547.35152487829</c:v>
                </c:pt>
                <c:pt idx="1">
                  <c:v>533547.35152487829</c:v>
                </c:pt>
                <c:pt idx="2">
                  <c:v>533547.35152487829</c:v>
                </c:pt>
                <c:pt idx="3">
                  <c:v>633547.35152487829</c:v>
                </c:pt>
                <c:pt idx="4">
                  <c:v>633547.35152487829</c:v>
                </c:pt>
                <c:pt idx="5">
                  <c:v>833547.351524878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FF-401B-AB17-7323FE0ABFED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0FF-401B-AB17-7323FE0ABFED}"/>
              </c:ext>
            </c:extLst>
          </c:dPt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0FF-401B-AB17-7323FE0ABFED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</c:v>
                </c:pt>
                <c:pt idx="2">
                  <c:v>200000</c:v>
                </c:pt>
                <c:pt idx="3">
                  <c:v>100000</c:v>
                </c:pt>
                <c:pt idx="4">
                  <c:v>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0FF-401B-AB17-7323FE0ABF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3998552"/>
        <c:axId val="1"/>
      </c:barChart>
      <c:catAx>
        <c:axId val="733998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33547.351524878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39985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01013909576674E-2"/>
          <c:y val="9.595703236874234E-2"/>
          <c:w val="0.91327734978168673"/>
          <c:h val="0.844241255943659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4"/>
              <c:layout>
                <c:manualLayout>
                  <c:x val="0"/>
                  <c:y val="4.379639373337263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D90-4153-87DA-E8BA1F8E8837}"/>
                </c:ext>
              </c:extLst>
            </c:dLbl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4">
                  <c:v>10227</c:v>
                </c:pt>
                <c:pt idx="5">
                  <c:v>59584</c:v>
                </c:pt>
                <c:pt idx="6">
                  <c:v>127186</c:v>
                </c:pt>
                <c:pt idx="7">
                  <c:v>134981</c:v>
                </c:pt>
                <c:pt idx="8">
                  <c:v>136480</c:v>
                </c:pt>
                <c:pt idx="9">
                  <c:v>142315</c:v>
                </c:pt>
                <c:pt idx="10">
                  <c:v>151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rgbClr val="026F4E"/>
            </a:solidFill>
            <a:ln w="9525">
              <a:solidFill>
                <a:schemeClr val="accent1"/>
              </a:solidFill>
            </a:ln>
          </c:spPr>
          <c:invertIfNegative val="0"/>
          <c:dLbls>
            <c:dLbl>
              <c:idx val="3"/>
              <c:numFmt formatCode="#,##0,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0D90-4153-87DA-E8BA1F8E8837}"/>
                </c:ext>
              </c:extLst>
            </c:dLbl>
            <c:dLbl>
              <c:idx val="4"/>
              <c:layout>
                <c:manualLayout>
                  <c:x val="0"/>
                  <c:y val="5.101419727576471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253-4F7C-AFD3-54578AF796EE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3">
                  <c:v>1800</c:v>
                </c:pt>
                <c:pt idx="4">
                  <c:v>20700</c:v>
                </c:pt>
                <c:pt idx="5">
                  <c:v>58600</c:v>
                </c:pt>
                <c:pt idx="6">
                  <c:v>95400</c:v>
                </c:pt>
                <c:pt idx="7">
                  <c:v>114400</c:v>
                </c:pt>
                <c:pt idx="8">
                  <c:v>128000</c:v>
                </c:pt>
                <c:pt idx="9">
                  <c:v>142000</c:v>
                </c:pt>
                <c:pt idx="10">
                  <c:v>149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 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4">
                  <c:v>0</c:v>
                </c:pt>
                <c:pt idx="5">
                  <c:v>2E-3</c:v>
                </c:pt>
                <c:pt idx="6">
                  <c:v>5.0000000000000001E-3</c:v>
                </c:pt>
                <c:pt idx="7">
                  <c:v>5.0000000000000001E-3</c:v>
                </c:pt>
                <c:pt idx="8">
                  <c:v>5.0000000000000001E-3</c:v>
                </c:pt>
                <c:pt idx="9">
                  <c:v>5.0000000000000001E-3</c:v>
                </c:pt>
                <c:pt idx="10">
                  <c:v>5.000000000000000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 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3">
                  <c:v>0</c:v>
                </c:pt>
                <c:pt idx="4">
                  <c:v>1E-3</c:v>
                </c:pt>
                <c:pt idx="5">
                  <c:v>2E-3</c:v>
                </c:pt>
                <c:pt idx="6">
                  <c:v>4.0000000000000001E-3</c:v>
                </c:pt>
                <c:pt idx="7">
                  <c:v>4.0000000000000001E-3</c:v>
                </c:pt>
                <c:pt idx="8">
                  <c:v>4.0000000000000001E-3</c:v>
                </c:pt>
                <c:pt idx="9">
                  <c:v>5.0000000000000001E-3</c:v>
                </c:pt>
                <c:pt idx="10">
                  <c:v>5.000000000000000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3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  <c:min val="-3.0000000000000006E-2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9197080291970805E-2"/>
          <c:w val="0.98041800037657689"/>
          <c:h val="0.941605839416058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0</c:v>
                </c:pt>
                <c:pt idx="1">
                  <c:v>600000</c:v>
                </c:pt>
                <c:pt idx="2">
                  <c:v>500001</c:v>
                </c:pt>
                <c:pt idx="3">
                  <c:v>600001</c:v>
                </c:pt>
                <c:pt idx="4">
                  <c:v>500002</c:v>
                </c:pt>
                <c:pt idx="5">
                  <c:v>600002</c:v>
                </c:pt>
                <c:pt idx="6">
                  <c:v>500003</c:v>
                </c:pt>
                <c:pt idx="7">
                  <c:v>600003</c:v>
                </c:pt>
                <c:pt idx="8">
                  <c:v>500004</c:v>
                </c:pt>
                <c:pt idx="9">
                  <c:v>600004</c:v>
                </c:pt>
                <c:pt idx="10">
                  <c:v>500005</c:v>
                </c:pt>
                <c:pt idx="11">
                  <c:v>6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DE-4F0A-B750-3AAF6B4C0AD7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300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  <c:pt idx="4">
                  <c:v>40000</c:v>
                </c:pt>
                <c:pt idx="5">
                  <c:v>50000</c:v>
                </c:pt>
                <c:pt idx="6">
                  <c:v>60000</c:v>
                </c:pt>
                <c:pt idx="7">
                  <c:v>70000</c:v>
                </c:pt>
                <c:pt idx="8">
                  <c:v>80000</c:v>
                </c:pt>
                <c:pt idx="9">
                  <c:v>90000</c:v>
                </c:pt>
                <c:pt idx="10">
                  <c:v>100000</c:v>
                </c:pt>
                <c:pt idx="11">
                  <c:v>1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DE-4F0A-B750-3AAF6B4C0A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9699720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5DE-4F0A-B750-3AAF6B4C0AD7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5DE-4F0A-B750-3AAF6B4C0AD7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5DE-4F0A-B750-3AAF6B4C0AD7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5DE-4F0A-B750-3AAF6B4C0AD7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5DE-4F0A-B750-3AAF6B4C0AD7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5DE-4F0A-B750-3AAF6B4C0AD7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5DE-4F0A-B750-3AAF6B4C0AD7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5DE-4F0A-B750-3AAF6B4C0AD7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5DE-4F0A-B750-3AAF6B4C0AD7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5DE-4F0A-B750-3AAF6B4C0AD7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5DE-4F0A-B750-3AAF6B4C0AD7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5DE-4F0A-B750-3AAF6B4C0AD7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20</c:v>
                </c:pt>
                <c:pt idx="1">
                  <c:v>20.5</c:v>
                </c:pt>
                <c:pt idx="2">
                  <c:v>21</c:v>
                </c:pt>
                <c:pt idx="3">
                  <c:v>21.5</c:v>
                </c:pt>
                <c:pt idx="4">
                  <c:v>22</c:v>
                </c:pt>
                <c:pt idx="5">
                  <c:v>22.5</c:v>
                </c:pt>
                <c:pt idx="6">
                  <c:v>23</c:v>
                </c:pt>
                <c:pt idx="7">
                  <c:v>23.5</c:v>
                </c:pt>
                <c:pt idx="8">
                  <c:v>24</c:v>
                </c:pt>
                <c:pt idx="9">
                  <c:v>24.5</c:v>
                </c:pt>
                <c:pt idx="10">
                  <c:v>25</c:v>
                </c:pt>
                <c:pt idx="11">
                  <c:v>25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5DE-4F0A-B750-3AAF6B4C0A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679699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679699720"/>
        <c:crosses val="min"/>
        <c:crossBetween val="between"/>
        <c:majorUnit val="100000"/>
      </c:valAx>
      <c:valAx>
        <c:axId val="2"/>
        <c:scaling>
          <c:orientation val="minMax"/>
          <c:max val="26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2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854723372224322E-3"/>
          <c:y val="3.123123123123123E-2"/>
          <c:w val="0.98042905532555513"/>
          <c:h val="0.937537537537537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300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  <c:pt idx="4">
                  <c:v>40000</c:v>
                </c:pt>
                <c:pt idx="5">
                  <c:v>50000</c:v>
                </c:pt>
                <c:pt idx="6">
                  <c:v>60000</c:v>
                </c:pt>
                <c:pt idx="7">
                  <c:v>70000</c:v>
                </c:pt>
                <c:pt idx="8">
                  <c:v>80000</c:v>
                </c:pt>
                <c:pt idx="9">
                  <c:v>90000</c:v>
                </c:pt>
                <c:pt idx="10">
                  <c:v>100000</c:v>
                </c:pt>
                <c:pt idx="11">
                  <c:v>1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BD-4B41-8F63-1CD3A00086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369670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0BD-4B41-8F63-1CD3A00086C2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0BD-4B41-8F63-1CD3A00086C2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0BD-4B41-8F63-1CD3A00086C2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0BD-4B41-8F63-1CD3A00086C2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0BD-4B41-8F63-1CD3A00086C2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0BD-4B41-8F63-1CD3A00086C2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0BD-4B41-8F63-1CD3A00086C2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0BD-4B41-8F63-1CD3A00086C2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0BD-4B41-8F63-1CD3A00086C2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0BD-4B41-8F63-1CD3A00086C2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0BD-4B41-8F63-1CD3A00086C2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0BD-4B41-8F63-1CD3A00086C2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5</c:v>
                </c:pt>
                <c:pt idx="1">
                  <c:v>5.0999999999999996</c:v>
                </c:pt>
                <c:pt idx="2">
                  <c:v>5.2</c:v>
                </c:pt>
                <c:pt idx="3">
                  <c:v>5.3</c:v>
                </c:pt>
                <c:pt idx="4">
                  <c:v>5.4</c:v>
                </c:pt>
                <c:pt idx="5">
                  <c:v>5.5</c:v>
                </c:pt>
                <c:pt idx="6">
                  <c:v>5.6000000000000005</c:v>
                </c:pt>
                <c:pt idx="7">
                  <c:v>5.7</c:v>
                </c:pt>
                <c:pt idx="8">
                  <c:v>5.8000000000000007</c:v>
                </c:pt>
                <c:pt idx="9">
                  <c:v>5.8999999999999995</c:v>
                </c:pt>
                <c:pt idx="10">
                  <c:v>5.9999999999999902</c:v>
                </c:pt>
                <c:pt idx="11">
                  <c:v>6.0999999999999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20BD-4B41-8F63-1CD3A00086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753696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753696704"/>
        <c:crosses val="min"/>
        <c:crossBetween val="between"/>
      </c:valAx>
      <c:valAx>
        <c:axId val="2"/>
        <c:scaling>
          <c:orientation val="minMax"/>
          <c:max val="25"/>
          <c:min val="-15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43119266055051E-3"/>
          <c:y val="3.0197444831591175E-2"/>
          <c:w val="0.9816513761467891"/>
          <c:h val="0.9396051103368177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2EE-4999-B804-5343D7547F56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2EE-4999-B804-5343D7547F56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214722.22222222225</c:v>
                </c:pt>
                <c:pt idx="1">
                  <c:v>214722.22222222225</c:v>
                </c:pt>
                <c:pt idx="3">
                  <c:v>184722.22222222225</c:v>
                </c:pt>
                <c:pt idx="4">
                  <c:v>174722.22222222225</c:v>
                </c:pt>
                <c:pt idx="5">
                  <c:v>174722.22222222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EE-4999-B804-5343D7547F56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2EE-4999-B804-5343D7547F56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</c:v>
                </c:pt>
                <c:pt idx="3">
                  <c:v>40000</c:v>
                </c:pt>
                <c:pt idx="4">
                  <c:v>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EE-4999-B804-5343D7547F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5370368"/>
        <c:axId val="1"/>
      </c:barChart>
      <c:catAx>
        <c:axId val="755370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4722.222222222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5370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01013909576674E-2"/>
          <c:y val="9.595703236874234E-2"/>
          <c:w val="0.91327734978168673"/>
          <c:h val="0.844241255943659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300000</c:v>
                </c:pt>
                <c:pt idx="1">
                  <c:v>301000</c:v>
                </c:pt>
                <c:pt idx="2">
                  <c:v>302000</c:v>
                </c:pt>
                <c:pt idx="3">
                  <c:v>303000</c:v>
                </c:pt>
                <c:pt idx="4">
                  <c:v>304000</c:v>
                </c:pt>
                <c:pt idx="5">
                  <c:v>305000</c:v>
                </c:pt>
                <c:pt idx="6">
                  <c:v>306000</c:v>
                </c:pt>
                <c:pt idx="7">
                  <c:v>307000</c:v>
                </c:pt>
                <c:pt idx="8">
                  <c:v>308000</c:v>
                </c:pt>
                <c:pt idx="9">
                  <c:v>309000</c:v>
                </c:pt>
                <c:pt idx="10">
                  <c:v>3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280000</c:v>
                </c:pt>
                <c:pt idx="1">
                  <c:v>290000</c:v>
                </c:pt>
                <c:pt idx="2">
                  <c:v>300000</c:v>
                </c:pt>
                <c:pt idx="3">
                  <c:v>310000</c:v>
                </c:pt>
                <c:pt idx="4">
                  <c:v>320000</c:v>
                </c:pt>
                <c:pt idx="5">
                  <c:v>330000</c:v>
                </c:pt>
                <c:pt idx="6">
                  <c:v>340000</c:v>
                </c:pt>
                <c:pt idx="7">
                  <c:v>350000</c:v>
                </c:pt>
                <c:pt idx="8">
                  <c:v>360000</c:v>
                </c:pt>
                <c:pt idx="9">
                  <c:v>370000</c:v>
                </c:pt>
                <c:pt idx="10">
                  <c:v>38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Prem.MS% PR69 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1</c:v>
                </c:pt>
                <c:pt idx="1">
                  <c:v>0.11</c:v>
                </c:pt>
                <c:pt idx="2">
                  <c:v>0.1</c:v>
                </c:pt>
                <c:pt idx="3">
                  <c:v>0.103333333333333</c:v>
                </c:pt>
                <c:pt idx="4">
                  <c:v>0.103333333333333</c:v>
                </c:pt>
                <c:pt idx="5">
                  <c:v>0.103333333333333</c:v>
                </c:pt>
                <c:pt idx="6">
                  <c:v>0.103333333333333</c:v>
                </c:pt>
                <c:pt idx="7">
                  <c:v>0.103333333333333</c:v>
                </c:pt>
                <c:pt idx="8">
                  <c:v>0.103333333333333</c:v>
                </c:pt>
                <c:pt idx="9">
                  <c:v>0.103333333333333</c:v>
                </c:pt>
                <c:pt idx="10">
                  <c:v>0.103333333333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rem.MS% PR69 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15</c:v>
                </c:pt>
                <c:pt idx="1">
                  <c:v>0.152</c:v>
                </c:pt>
                <c:pt idx="2">
                  <c:v>0.15</c:v>
                </c:pt>
                <c:pt idx="3">
                  <c:v>0.150666666666667</c:v>
                </c:pt>
                <c:pt idx="4">
                  <c:v>0.150666666666667</c:v>
                </c:pt>
                <c:pt idx="5">
                  <c:v>0.150666666666667</c:v>
                </c:pt>
                <c:pt idx="6">
                  <c:v>0.150666666666667</c:v>
                </c:pt>
                <c:pt idx="7">
                  <c:v>0.150666666666667</c:v>
                </c:pt>
                <c:pt idx="8">
                  <c:v>0.150666666666667</c:v>
                </c:pt>
                <c:pt idx="9">
                  <c:v>0.150666666666667</c:v>
                </c:pt>
                <c:pt idx="10">
                  <c:v>0.150666666666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1500000"/>
          <c:min val="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  <c:min val="-0.30000000000000004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95386702849387E-3"/>
          <c:y val="3.1325301204819279E-2"/>
          <c:w val="0.98236092265943009"/>
          <c:h val="0.937349397590361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4C7-417E-A317-EB0ECC761784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4C7-417E-A317-EB0ECC761784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38928.57142857136</c:v>
                </c:pt>
                <c:pt idx="1">
                  <c:v>128928.57142857136</c:v>
                </c:pt>
                <c:pt idx="3">
                  <c:v>98928.571428571362</c:v>
                </c:pt>
                <c:pt idx="4">
                  <c:v>88928.571428571362</c:v>
                </c:pt>
                <c:pt idx="5">
                  <c:v>88928.571428571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4C7-417E-A317-EB0ECC761784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1">
                  <c:v>10000</c:v>
                </c:pt>
                <c:pt idx="3">
                  <c:v>30000</c:v>
                </c:pt>
                <c:pt idx="4">
                  <c:v>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C7-417E-A317-EB0ECC7617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5369384"/>
        <c:axId val="1"/>
      </c:barChart>
      <c:catAx>
        <c:axId val="755369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8928.5714285713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5369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793858485349465E-2"/>
          <c:y val="0.23798821786661334"/>
          <c:w val="0.9656722655072526"/>
          <c:h val="0.700818396940364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#,##0</c:formatCode>
                <c:ptCount val="11"/>
                <c:pt idx="0">
                  <c:v>10000</c:v>
                </c:pt>
                <c:pt idx="1">
                  <c:v>20000</c:v>
                </c:pt>
                <c:pt idx="2">
                  <c:v>30000</c:v>
                </c:pt>
                <c:pt idx="3">
                  <c:v>40000</c:v>
                </c:pt>
                <c:pt idx="4">
                  <c:v>50000</c:v>
                </c:pt>
                <c:pt idx="5">
                  <c:v>60000</c:v>
                </c:pt>
                <c:pt idx="6">
                  <c:v>70000</c:v>
                </c:pt>
                <c:pt idx="7">
                  <c:v>80000</c:v>
                </c:pt>
                <c:pt idx="8">
                  <c:v>90000</c:v>
                </c:pt>
                <c:pt idx="9">
                  <c:v>100000</c:v>
                </c:pt>
                <c:pt idx="10">
                  <c:v>1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B4-4B83-B157-09EB9AD1FBB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rgbClr val="026F4E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832-43AA-89C3-18BE50A873A0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7832-43AA-89C3-18BE50A873A0}"/>
                </c:ext>
              </c:extLst>
            </c:dLbl>
            <c:dLbl>
              <c:idx val="2"/>
              <c:layout>
                <c:manualLayout>
                  <c:x val="-7.0494240761518267E-8"/>
                  <c:y val="6.96559820395173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832-43AA-89C3-18BE50A873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#,##0</c:formatCode>
                <c:ptCount val="11"/>
                <c:pt idx="0">
                  <c:v>9000</c:v>
                </c:pt>
                <c:pt idx="1">
                  <c:v>10000</c:v>
                </c:pt>
                <c:pt idx="2">
                  <c:v>11000</c:v>
                </c:pt>
                <c:pt idx="3">
                  <c:v>12000</c:v>
                </c:pt>
                <c:pt idx="4">
                  <c:v>13000</c:v>
                </c:pt>
                <c:pt idx="5">
                  <c:v>14000</c:v>
                </c:pt>
                <c:pt idx="6">
                  <c:v>15000</c:v>
                </c:pt>
                <c:pt idx="7">
                  <c:v>16000</c:v>
                </c:pt>
                <c:pt idx="8">
                  <c:v>17000</c:v>
                </c:pt>
                <c:pt idx="9">
                  <c:v>18000</c:v>
                </c:pt>
                <c:pt idx="10">
                  <c:v>1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1668352"/>
        <c:axId val="211678336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Prem.MS% PR69 SP</c:v>
                </c:pt>
              </c:strCache>
            </c:strRef>
          </c:tx>
          <c:spPr>
            <a:ln w="19050">
              <a:solidFill>
                <a:schemeClr val="tx1"/>
              </a:solidFill>
              <a:prstDash val="sysDot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/>
                </a:solidFill>
                <a:prstDash val="sysDot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C9B4-4B83-B157-09EB9AD1FBBB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5.0999999999999997E-2</c:v>
                </c:pt>
                <c:pt idx="1">
                  <c:v>5.1999999999999998E-2</c:v>
                </c:pt>
                <c:pt idx="2">
                  <c:v>5.2999999999999999E-2</c:v>
                </c:pt>
                <c:pt idx="3">
                  <c:v>5.3999999999999999E-2</c:v>
                </c:pt>
                <c:pt idx="4">
                  <c:v>5.5E-2</c:v>
                </c:pt>
                <c:pt idx="5">
                  <c:v>5.6000000000000001E-2</c:v>
                </c:pt>
                <c:pt idx="6">
                  <c:v>5.7000000000000002E-2</c:v>
                </c:pt>
                <c:pt idx="7">
                  <c:v>5.8000000000000003E-2</c:v>
                </c:pt>
                <c:pt idx="8">
                  <c:v>5.8999999999999997E-2</c:v>
                </c:pt>
                <c:pt idx="9">
                  <c:v>0.06</c:v>
                </c:pt>
                <c:pt idx="10">
                  <c:v>6.0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9B4-4B83-B157-09EB9AD1FBB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rem.MS% PR69 OP</c:v>
                </c:pt>
              </c:strCache>
            </c:strRef>
          </c:tx>
          <c:spPr>
            <a:ln w="22225">
              <a:solidFill>
                <a:srgbClr val="026F4E"/>
              </a:solidFill>
            </a:ln>
          </c:spPr>
          <c:marker>
            <c:symbol val="diamond"/>
            <c:size val="7"/>
            <c:spPr>
              <a:solidFill>
                <a:srgbClr val="026F4E"/>
              </a:solidFill>
              <a:ln>
                <a:solidFill>
                  <a:srgbClr val="026F4E"/>
                </a:solidFill>
              </a:ln>
            </c:spPr>
          </c:marker>
          <c:dLbls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3.1E-2</c:v>
                </c:pt>
                <c:pt idx="1">
                  <c:v>3.2000000000000001E-2</c:v>
                </c:pt>
                <c:pt idx="2">
                  <c:v>3.3000000000000002E-2</c:v>
                </c:pt>
                <c:pt idx="3">
                  <c:v>3.4000000000000002E-2</c:v>
                </c:pt>
                <c:pt idx="4">
                  <c:v>3.5000000000000003E-2</c:v>
                </c:pt>
                <c:pt idx="5">
                  <c:v>3.5999999999999997E-2</c:v>
                </c:pt>
                <c:pt idx="6">
                  <c:v>3.6999999999999998E-2</c:v>
                </c:pt>
                <c:pt idx="7">
                  <c:v>3.7999999999999999E-2</c:v>
                </c:pt>
                <c:pt idx="8">
                  <c:v>3.9E-2</c:v>
                </c:pt>
                <c:pt idx="9">
                  <c:v>0.04</c:v>
                </c:pt>
                <c:pt idx="10">
                  <c:v>4.1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165376"/>
        <c:axId val="211680256"/>
      </c:lineChart>
      <c:catAx>
        <c:axId val="211668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211678336"/>
        <c:crosses val="autoZero"/>
        <c:auto val="1"/>
        <c:lblAlgn val="ctr"/>
        <c:lblOffset val="100"/>
        <c:noMultiLvlLbl val="0"/>
      </c:catAx>
      <c:valAx>
        <c:axId val="211678336"/>
        <c:scaling>
          <c:orientation val="minMax"/>
          <c:max val="700000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211668352"/>
        <c:crosses val="autoZero"/>
        <c:crossBetween val="between"/>
        <c:dispUnits>
          <c:builtInUnit val="thousands"/>
        </c:dispUnits>
      </c:valAx>
      <c:valAx>
        <c:axId val="211680256"/>
        <c:scaling>
          <c:orientation val="minMax"/>
          <c:min val="-0.2"/>
        </c:scaling>
        <c:delete val="0"/>
        <c:axPos val="r"/>
        <c:numFmt formatCode="0%" sourceLinked="0"/>
        <c:majorTickMark val="none"/>
        <c:minorTickMark val="none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2165376"/>
        <c:crosses val="max"/>
        <c:crossBetween val="between"/>
      </c:valAx>
      <c:catAx>
        <c:axId val="212165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680256"/>
        <c:crosses val="autoZero"/>
        <c:auto val="1"/>
        <c:lblAlgn val="ctr"/>
        <c:lblOffset val="100"/>
        <c:noMultiLvlLbl val="0"/>
      </c:catAx>
      <c:spPr>
        <a:noFill/>
      </c:spPr>
    </c:plotArea>
    <c:legend>
      <c:legendPos val="r"/>
      <c:layout>
        <c:manualLayout>
          <c:xMode val="edge"/>
          <c:yMode val="edge"/>
          <c:x val="6.6320723606661358E-2"/>
          <c:y val="2.121188761492022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52582159624413E-3"/>
          <c:y val="3.2520325203252029E-2"/>
          <c:w val="0.98046948356807517"/>
          <c:h val="0.934959349593495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730000</c:v>
                </c:pt>
                <c:pt idx="1">
                  <c:v>900000</c:v>
                </c:pt>
                <c:pt idx="2">
                  <c:v>730000</c:v>
                </c:pt>
                <c:pt idx="3">
                  <c:v>900000</c:v>
                </c:pt>
                <c:pt idx="4">
                  <c:v>730000</c:v>
                </c:pt>
                <c:pt idx="5">
                  <c:v>900000</c:v>
                </c:pt>
                <c:pt idx="6">
                  <c:v>1000000</c:v>
                </c:pt>
                <c:pt idx="7">
                  <c:v>1000000</c:v>
                </c:pt>
                <c:pt idx="8">
                  <c:v>1000000</c:v>
                </c:pt>
                <c:pt idx="9">
                  <c:v>1000000</c:v>
                </c:pt>
                <c:pt idx="10">
                  <c:v>1000000</c:v>
                </c:pt>
                <c:pt idx="11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E4-4597-8F97-D4472A829C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7652020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AE4-4597-8F97-D4472A829CE9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AE4-4597-8F97-D4472A829CE9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AE4-4597-8F97-D4472A829CE9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AE4-4597-8F97-D4472A829CE9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AE4-4597-8F97-D4472A829CE9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AE4-4597-8F97-D4472A829CE9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AE4-4597-8F97-D4472A829CE9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AE4-4597-8F97-D4472A829CE9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3AE4-4597-8F97-D4472A829CE9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AE4-4597-8F97-D4472A829CE9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3AE4-4597-8F97-D4472A829CE9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3AE4-4597-8F97-D4472A829CE9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4.8</c:v>
                </c:pt>
                <c:pt idx="6">
                  <c:v>4.8</c:v>
                </c:pt>
                <c:pt idx="7">
                  <c:v>4.8</c:v>
                </c:pt>
                <c:pt idx="8">
                  <c:v>4.8</c:v>
                </c:pt>
                <c:pt idx="9">
                  <c:v>4.8</c:v>
                </c:pt>
                <c:pt idx="10">
                  <c:v>4.8</c:v>
                </c:pt>
                <c:pt idx="11">
                  <c:v>4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3AE4-4597-8F97-D4472A829C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376520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376520200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6262626262626262E-2"/>
          <c:w val="0.98041800037657689"/>
          <c:h val="0.947474747474747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200000</c:v>
                </c:pt>
                <c:pt idx="1">
                  <c:v>250000</c:v>
                </c:pt>
                <c:pt idx="2">
                  <c:v>300000</c:v>
                </c:pt>
                <c:pt idx="3">
                  <c:v>350000</c:v>
                </c:pt>
                <c:pt idx="4">
                  <c:v>400000</c:v>
                </c:pt>
                <c:pt idx="5">
                  <c:v>450000</c:v>
                </c:pt>
                <c:pt idx="6">
                  <c:v>500000</c:v>
                </c:pt>
                <c:pt idx="7">
                  <c:v>550000</c:v>
                </c:pt>
                <c:pt idx="8">
                  <c:v>600000</c:v>
                </c:pt>
                <c:pt idx="9">
                  <c:v>650000</c:v>
                </c:pt>
                <c:pt idx="10">
                  <c:v>700000</c:v>
                </c:pt>
                <c:pt idx="11">
                  <c:v>7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CA-4418-B593-62A8659CCF16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4">
                  <c:v>1000</c:v>
                </c:pt>
                <c:pt idx="5">
                  <c:v>2000</c:v>
                </c:pt>
                <c:pt idx="6">
                  <c:v>3000</c:v>
                </c:pt>
                <c:pt idx="7">
                  <c:v>4000</c:v>
                </c:pt>
                <c:pt idx="8">
                  <c:v>5000</c:v>
                </c:pt>
                <c:pt idx="9">
                  <c:v>6000</c:v>
                </c:pt>
                <c:pt idx="10">
                  <c:v>7000</c:v>
                </c:pt>
                <c:pt idx="11">
                  <c:v>8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CA-4418-B593-62A8659CCF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9679616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6ECA-4418-B593-62A8659CCF16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6ECA-4418-B593-62A8659CCF16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6ECA-4418-B593-62A8659CCF16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6ECA-4418-B593-62A8659CCF16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6ECA-4418-B593-62A8659CCF16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6ECA-4418-B593-62A8659CCF16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ECA-4418-B593-62A8659CCF16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6ECA-4418-B593-62A8659CCF16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6ECA-4418-B593-62A8659CCF16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6ECA-4418-B593-62A8659CCF16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6ECA-4418-B593-62A8659CCF16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6ECA-4418-B593-62A8659CCF16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1</c:v>
                </c:pt>
                <c:pt idx="1">
                  <c:v>1.0999999999999999</c:v>
                </c:pt>
                <c:pt idx="2">
                  <c:v>1.2</c:v>
                </c:pt>
                <c:pt idx="3">
                  <c:v>1.3</c:v>
                </c:pt>
                <c:pt idx="4">
                  <c:v>1.4000000000000001</c:v>
                </c:pt>
                <c:pt idx="5">
                  <c:v>1.5</c:v>
                </c:pt>
                <c:pt idx="6">
                  <c:v>1.6</c:v>
                </c:pt>
                <c:pt idx="7">
                  <c:v>1.7000000000000002</c:v>
                </c:pt>
                <c:pt idx="8">
                  <c:v>1.7999999999999998</c:v>
                </c:pt>
                <c:pt idx="9">
                  <c:v>1.9</c:v>
                </c:pt>
                <c:pt idx="10">
                  <c:v>2</c:v>
                </c:pt>
                <c:pt idx="11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6ECA-4418-B593-62A8659CCF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8396796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839679616"/>
        <c:crosses val="min"/>
        <c:crossBetween val="between"/>
        <c:majorUnit val="50000"/>
      </c:valAx>
      <c:valAx>
        <c:axId val="2"/>
        <c:scaling>
          <c:orientation val="minMax"/>
          <c:max val="2.2000000000000002"/>
          <c:min val="-1.4000000000000001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0.2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42269056529446E-2"/>
          <c:y val="5.517536355859709E-2"/>
          <c:w val="0.96040969076226113"/>
          <c:h val="0.922583404619332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P$1</c:f>
              <c:numCache>
                <c:formatCode>General</c:formatCode>
                <c:ptCount val="16"/>
                <c:pt idx="0">
                  <c:v>21.400032678708662</c:v>
                </c:pt>
                <c:pt idx="1">
                  <c:v>25.385633487793562</c:v>
                </c:pt>
                <c:pt idx="2">
                  <c:v>27.590021957110132</c:v>
                </c:pt>
                <c:pt idx="3">
                  <c:v>27.259177097607662</c:v>
                </c:pt>
                <c:pt idx="4">
                  <c:v>27.748260678435766</c:v>
                </c:pt>
                <c:pt idx="5">
                  <c:v>28.142302602026387</c:v>
                </c:pt>
                <c:pt idx="6">
                  <c:v>29.638358315316708</c:v>
                </c:pt>
                <c:pt idx="7">
                  <c:v>30.184095609291976</c:v>
                </c:pt>
                <c:pt idx="8">
                  <c:v>30.65725953364209</c:v>
                </c:pt>
                <c:pt idx="9">
                  <c:v>30.993565679970807</c:v>
                </c:pt>
                <c:pt idx="10">
                  <c:v>31.405564552248954</c:v>
                </c:pt>
                <c:pt idx="11">
                  <c:v>31.614318578261468</c:v>
                </c:pt>
                <c:pt idx="12">
                  <c:v>31.782369787396391</c:v>
                </c:pt>
                <c:pt idx="13">
                  <c:v>31.878522791855769</c:v>
                </c:pt>
                <c:pt idx="14">
                  <c:v>31.929518737676986</c:v>
                </c:pt>
                <c:pt idx="15">
                  <c:v>31.9531409994266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C2-4382-B0B1-DB1F7285E5E2}"/>
            </c:ext>
          </c:extLst>
        </c:ser>
        <c:ser>
          <c:idx val="1"/>
          <c:order val="1"/>
          <c:spPr>
            <a:solidFill>
              <a:srgbClr val="C0C0C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P$2</c:f>
              <c:numCache>
                <c:formatCode>General</c:formatCode>
                <c:ptCount val="16"/>
                <c:pt idx="0">
                  <c:v>28.149107226406734</c:v>
                </c:pt>
                <c:pt idx="1">
                  <c:v>30.852640547914749</c:v>
                </c:pt>
                <c:pt idx="2">
                  <c:v>32.698135848145867</c:v>
                </c:pt>
                <c:pt idx="3">
                  <c:v>32.647917000398188</c:v>
                </c:pt>
                <c:pt idx="4">
                  <c:v>33.438423000944198</c:v>
                </c:pt>
                <c:pt idx="5">
                  <c:v>34.444814364858672</c:v>
                </c:pt>
                <c:pt idx="6">
                  <c:v>35.199350130990922</c:v>
                </c:pt>
                <c:pt idx="7">
                  <c:v>35.398330620707483</c:v>
                </c:pt>
                <c:pt idx="8">
                  <c:v>35.641004148351584</c:v>
                </c:pt>
                <c:pt idx="9">
                  <c:v>35.7357954445187</c:v>
                </c:pt>
                <c:pt idx="10">
                  <c:v>35.88920200053203</c:v>
                </c:pt>
                <c:pt idx="11">
                  <c:v>35.876209888790477</c:v>
                </c:pt>
                <c:pt idx="12">
                  <c:v>35.856951731483647</c:v>
                </c:pt>
                <c:pt idx="13">
                  <c:v>35.824397769052176</c:v>
                </c:pt>
                <c:pt idx="14">
                  <c:v>35.769836429944455</c:v>
                </c:pt>
                <c:pt idx="15">
                  <c:v>35.73012154247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C2-4382-B0B1-DB1F7285E5E2}"/>
            </c:ext>
          </c:extLst>
        </c:ser>
        <c:ser>
          <c:idx val="2"/>
          <c:order val="2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P$3</c:f>
              <c:numCache>
                <c:formatCode>General</c:formatCode>
                <c:ptCount val="16"/>
                <c:pt idx="0">
                  <c:v>39.520541477475199</c:v>
                </c:pt>
                <c:pt idx="1">
                  <c:v>34.476779225272622</c:v>
                </c:pt>
                <c:pt idx="2">
                  <c:v>30.546477913638437</c:v>
                </c:pt>
                <c:pt idx="3">
                  <c:v>31.42310906910215</c:v>
                </c:pt>
                <c:pt idx="4">
                  <c:v>31.906922352257517</c:v>
                </c:pt>
                <c:pt idx="5">
                  <c:v>30.729501791335025</c:v>
                </c:pt>
                <c:pt idx="6">
                  <c:v>28.391548794547163</c:v>
                </c:pt>
                <c:pt idx="7">
                  <c:v>27.259056605540501</c:v>
                </c:pt>
                <c:pt idx="8">
                  <c:v>26.127903537847164</c:v>
                </c:pt>
                <c:pt idx="9">
                  <c:v>25.589912056302911</c:v>
                </c:pt>
                <c:pt idx="10">
                  <c:v>24.941236455533588</c:v>
                </c:pt>
                <c:pt idx="11">
                  <c:v>24.650895194961265</c:v>
                </c:pt>
                <c:pt idx="12">
                  <c:v>24.434690217906418</c:v>
                </c:pt>
                <c:pt idx="13">
                  <c:v>24.301998357767651</c:v>
                </c:pt>
                <c:pt idx="14">
                  <c:v>24.24221135292153</c:v>
                </c:pt>
                <c:pt idx="15">
                  <c:v>24.163986900780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C2-4382-B0B1-DB1F7285E5E2}"/>
            </c:ext>
          </c:extLst>
        </c:ser>
        <c:ser>
          <c:idx val="3"/>
          <c:order val="3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120615911035072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FFC2-4382-B0B1-DB1F7285E5E2}"/>
                </c:ext>
              </c:extLst>
            </c:dLbl>
            <c:dLbl>
              <c:idx val="15"/>
              <c:layout>
                <c:manualLayout>
                  <c:x val="3.7423675398857596E-2"/>
                  <c:y val="8.5543199315654401E-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FFC2-4382-B0B1-DB1F7285E5E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P$4</c:f>
              <c:numCache>
                <c:formatCode>General</c:formatCode>
                <c:ptCount val="16"/>
                <c:pt idx="0">
                  <c:v>3.8319976921268095</c:v>
                </c:pt>
                <c:pt idx="1">
                  <c:v>3.7860792813738664</c:v>
                </c:pt>
                <c:pt idx="2">
                  <c:v>3.6464925671731985</c:v>
                </c:pt>
                <c:pt idx="3">
                  <c:v>3.6748768816167399</c:v>
                </c:pt>
                <c:pt idx="4">
                  <c:v>3.4010927564315452</c:v>
                </c:pt>
                <c:pt idx="5">
                  <c:v>3.3205264966197023</c:v>
                </c:pt>
                <c:pt idx="6">
                  <c:v>3.4053637843444173</c:v>
                </c:pt>
                <c:pt idx="7">
                  <c:v>3.7528926081101588</c:v>
                </c:pt>
                <c:pt idx="8">
                  <c:v>4.0806709002431436</c:v>
                </c:pt>
                <c:pt idx="9">
                  <c:v>4.2393089393851895</c:v>
                </c:pt>
                <c:pt idx="10">
                  <c:v>4.3793524218013413</c:v>
                </c:pt>
                <c:pt idx="11">
                  <c:v>4.5442154016693603</c:v>
                </c:pt>
                <c:pt idx="12">
                  <c:v>4.6642566138924373</c:v>
                </c:pt>
                <c:pt idx="13">
                  <c:v>4.768370619073881</c:v>
                </c:pt>
                <c:pt idx="14">
                  <c:v>4.8588633037041422</c:v>
                </c:pt>
                <c:pt idx="15">
                  <c:v>4.9485788519196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FC2-4382-B0B1-DB1F7285E5E2}"/>
            </c:ext>
          </c:extLst>
        </c:ser>
        <c:ser>
          <c:idx val="4"/>
          <c:order val="4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5:$P$5</c:f>
              <c:numCache>
                <c:formatCode>General</c:formatCode>
                <c:ptCount val="16"/>
                <c:pt idx="0">
                  <c:v>7.0983209252825974</c:v>
                </c:pt>
                <c:pt idx="1">
                  <c:v>5.4988674576451846</c:v>
                </c:pt>
                <c:pt idx="2">
                  <c:v>5.5188717139323495</c:v>
                </c:pt>
                <c:pt idx="3">
                  <c:v>4.9949199512752562</c:v>
                </c:pt>
                <c:pt idx="4">
                  <c:v>3.5053012119310001</c:v>
                </c:pt>
                <c:pt idx="5">
                  <c:v>3.3628547451602042</c:v>
                </c:pt>
                <c:pt idx="6">
                  <c:v>3.3653789748007923</c:v>
                </c:pt>
                <c:pt idx="7">
                  <c:v>3.4056245563498844</c:v>
                </c:pt>
                <c:pt idx="8">
                  <c:v>3.493161879916018</c:v>
                </c:pt>
                <c:pt idx="9">
                  <c:v>3.4414178798223838</c:v>
                </c:pt>
                <c:pt idx="10">
                  <c:v>3.3846445698840766</c:v>
                </c:pt>
                <c:pt idx="11">
                  <c:v>3.3143609363174287</c:v>
                </c:pt>
                <c:pt idx="12">
                  <c:v>3.261731649321109</c:v>
                </c:pt>
                <c:pt idx="13">
                  <c:v>3.226710462250526</c:v>
                </c:pt>
                <c:pt idx="14">
                  <c:v>3.1995701757529083</c:v>
                </c:pt>
                <c:pt idx="15">
                  <c:v>3.20417170539929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C2-4382-B0B1-DB1F7285E5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3482616"/>
        <c:axId val="1"/>
      </c:barChart>
      <c:catAx>
        <c:axId val="8434826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3482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854723372224322E-3"/>
          <c:y val="2.3985239852398522E-2"/>
          <c:w val="0.98042905532555513"/>
          <c:h val="0.9520295202952029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dLbls>
            <c:dLbl>
              <c:idx val="4"/>
              <c:layout>
                <c:manualLayout>
                  <c:x val="0"/>
                  <c:y val="-4.19741697416974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rgbClr val="000000"/>
                      </a:solidFill>
                      <a:latin typeface="VWAG TheSans"/>
                      <a:ea typeface="VWAG TheSans"/>
                      <a:cs typeface="VWAG TheSans"/>
                      <a:sym typeface="VWAG The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0538-4926-A947-B5A147CE8491}"/>
                </c:ext>
              </c:extLst>
            </c:dLbl>
            <c:dLbl>
              <c:idx val="5"/>
              <c:layout>
                <c:manualLayout>
                  <c:x val="0"/>
                  <c:y val="-8.02583025830258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rgbClr val="000000"/>
                      </a:solidFill>
                      <a:latin typeface="VWAG TheSans"/>
                      <a:ea typeface="VWAG TheSans"/>
                      <a:cs typeface="VWAG TheSans"/>
                      <a:sym typeface="VWAG The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0538-4926-A947-B5A147CE8491}"/>
                </c:ext>
              </c:extLst>
            </c:dLbl>
            <c:dLbl>
              <c:idx val="6"/>
              <c:layout>
                <c:manualLayout>
                  <c:x val="0"/>
                  <c:y val="-0.118081180811808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rgbClr val="000000"/>
                      </a:solidFill>
                      <a:latin typeface="VWAG TheSans"/>
                      <a:ea typeface="VWAG TheSans"/>
                      <a:cs typeface="VWAG TheSans"/>
                      <a:sym typeface="VWAG The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0538-4926-A947-B5A147CE8491}"/>
                </c:ext>
              </c:extLst>
            </c:dLbl>
            <c:dLbl>
              <c:idx val="7"/>
              <c:layout>
                <c:manualLayout>
                  <c:x val="0"/>
                  <c:y val="-0.156365313653136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rgbClr val="000000"/>
                      </a:solidFill>
                      <a:latin typeface="VWAG TheSans"/>
                      <a:ea typeface="VWAG TheSans"/>
                      <a:cs typeface="VWAG TheSans"/>
                      <a:sym typeface="VWAG The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0538-4926-A947-B5A147CE8491}"/>
                </c:ext>
              </c:extLst>
            </c:dLbl>
            <c:dLbl>
              <c:idx val="8"/>
              <c:layout>
                <c:manualLayout>
                  <c:x val="0"/>
                  <c:y val="-0.194649446494464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rgbClr val="000000"/>
                      </a:solidFill>
                      <a:latin typeface="VWAG TheSans"/>
                      <a:ea typeface="VWAG TheSans"/>
                      <a:cs typeface="VWAG TheSans"/>
                      <a:sym typeface="VWAG The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0538-4926-A947-B5A147CE8491}"/>
                </c:ext>
              </c:extLst>
            </c:dLbl>
            <c:dLbl>
              <c:idx val="9"/>
              <c:layout>
                <c:manualLayout>
                  <c:x val="0"/>
                  <c:y val="-0.232933579335793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rgbClr val="000000"/>
                      </a:solidFill>
                      <a:latin typeface="VWAG TheSans"/>
                      <a:ea typeface="VWAG TheSans"/>
                      <a:cs typeface="VWAG TheSans"/>
                      <a:sym typeface="VWAG The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0538-4926-A947-B5A147CE8491}"/>
                </c:ext>
              </c:extLst>
            </c:dLbl>
            <c:dLbl>
              <c:idx val="10"/>
              <c:layout>
                <c:manualLayout>
                  <c:x val="0"/>
                  <c:y val="-0.2721402214022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rgbClr val="000000"/>
                      </a:solidFill>
                      <a:latin typeface="VWAG TheSans"/>
                      <a:ea typeface="VWAG TheSans"/>
                      <a:cs typeface="VWAG TheSans"/>
                      <a:sym typeface="VWAG The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0538-4926-A947-B5A147CE8491}"/>
                </c:ext>
              </c:extLst>
            </c:dLbl>
            <c:dLbl>
              <c:idx val="11"/>
              <c:layout>
                <c:manualLayout>
                  <c:x val="0"/>
                  <c:y val="-0.310424354243542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rgbClr val="000000"/>
                      </a:solidFill>
                      <a:latin typeface="VWAG TheSans"/>
                      <a:ea typeface="VWAG TheSans"/>
                      <a:cs typeface="VWAG TheSans"/>
                      <a:sym typeface="VWAG The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0538-4926-A947-B5A147CE84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4">
                  <c:v>4</c:v>
                </c:pt>
                <c:pt idx="5">
                  <c:v>16</c:v>
                </c:pt>
                <c:pt idx="6">
                  <c:v>28</c:v>
                </c:pt>
                <c:pt idx="7">
                  <c:v>40</c:v>
                </c:pt>
                <c:pt idx="8">
                  <c:v>52</c:v>
                </c:pt>
                <c:pt idx="9">
                  <c:v>64</c:v>
                </c:pt>
                <c:pt idx="10">
                  <c:v>76</c:v>
                </c:pt>
                <c:pt idx="11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538-4926-A947-B5A147CE84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7428468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538-4926-A947-B5A147CE8491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538-4926-A947-B5A147CE8491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538-4926-A947-B5A147CE8491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0538-4926-A947-B5A147CE8491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538-4926-A947-B5A147CE8491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538-4926-A947-B5A147CE8491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0538-4926-A947-B5A147CE8491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0538-4926-A947-B5A147CE8491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4">
                  <c:v>0.1</c:v>
                </c:pt>
                <c:pt idx="5">
                  <c:v>0.2</c:v>
                </c:pt>
                <c:pt idx="6">
                  <c:v>0.3</c:v>
                </c:pt>
                <c:pt idx="7">
                  <c:v>0.4</c:v>
                </c:pt>
                <c:pt idx="8">
                  <c:v>0.5</c:v>
                </c:pt>
                <c:pt idx="9">
                  <c:v>0.6</c:v>
                </c:pt>
                <c:pt idx="10">
                  <c:v>0.70000000000000007</c:v>
                </c:pt>
                <c:pt idx="11">
                  <c:v>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0538-4926-A947-B5A147CE84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4742846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474284680"/>
        <c:crosses val="min"/>
        <c:crossBetween val="between"/>
      </c:valAx>
      <c:valAx>
        <c:axId val="2"/>
        <c:scaling>
          <c:orientation val="minMax"/>
          <c:max val="0.8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0.0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43119266055051E-3"/>
          <c:y val="2.8337874659400547E-2"/>
          <c:w val="0.9816513761467891"/>
          <c:h val="0.9433242506811989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DA1-4839-9B52-CBC641FE2D34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DA1-4839-9B52-CBC641FE2D34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386383.92857142864</c:v>
                </c:pt>
                <c:pt idx="1">
                  <c:v>336383.92857142864</c:v>
                </c:pt>
                <c:pt idx="2">
                  <c:v>326383.92857142864</c:v>
                </c:pt>
                <c:pt idx="3">
                  <c:v>306383.92857142864</c:v>
                </c:pt>
                <c:pt idx="4">
                  <c:v>286383.92857142864</c:v>
                </c:pt>
                <c:pt idx="5">
                  <c:v>286383.928571428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A1-4839-9B52-CBC641FE2D34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1">
                  <c:v>50000</c:v>
                </c:pt>
                <c:pt idx="2">
                  <c:v>10000</c:v>
                </c:pt>
                <c:pt idx="3">
                  <c:v>20000</c:v>
                </c:pt>
                <c:pt idx="4">
                  <c:v>2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DA1-4839-9B52-CBC641FE2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96685848"/>
        <c:axId val="1"/>
      </c:barChart>
      <c:catAx>
        <c:axId val="596685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6383.9285714286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96685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01013909576674E-2"/>
          <c:y val="9.595703236874234E-2"/>
          <c:w val="0.96777856841498811"/>
          <c:h val="0.844241255943659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300000</c:v>
                </c:pt>
                <c:pt idx="1">
                  <c:v>310000</c:v>
                </c:pt>
                <c:pt idx="2">
                  <c:v>320000</c:v>
                </c:pt>
                <c:pt idx="3">
                  <c:v>330000</c:v>
                </c:pt>
                <c:pt idx="4">
                  <c:v>340000</c:v>
                </c:pt>
                <c:pt idx="5">
                  <c:v>350000</c:v>
                </c:pt>
                <c:pt idx="6">
                  <c:v>360000</c:v>
                </c:pt>
                <c:pt idx="7">
                  <c:v>370000</c:v>
                </c:pt>
                <c:pt idx="8">
                  <c:v>380000</c:v>
                </c:pt>
                <c:pt idx="9">
                  <c:v>390000</c:v>
                </c:pt>
                <c:pt idx="10">
                  <c:v>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accent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250000</c:v>
                </c:pt>
                <c:pt idx="1">
                  <c:v>260000</c:v>
                </c:pt>
                <c:pt idx="2">
                  <c:v>270000</c:v>
                </c:pt>
                <c:pt idx="3">
                  <c:v>280000</c:v>
                </c:pt>
                <c:pt idx="4">
                  <c:v>290000</c:v>
                </c:pt>
                <c:pt idx="5">
                  <c:v>300000</c:v>
                </c:pt>
                <c:pt idx="6">
                  <c:v>310000</c:v>
                </c:pt>
                <c:pt idx="7">
                  <c:v>320000</c:v>
                </c:pt>
                <c:pt idx="8">
                  <c:v>330000</c:v>
                </c:pt>
                <c:pt idx="9">
                  <c:v>340000</c:v>
                </c:pt>
                <c:pt idx="10">
                  <c:v>3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 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dLbl>
              <c:idx val="4"/>
              <c:layout>
                <c:manualLayout>
                  <c:x val="-2.6871326654105201E-2"/>
                  <c:y val="6.3446813098766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5B2E-4F62-98B7-3B84FC9F2C21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1.4999999999999999E-2</c:v>
                </c:pt>
                <c:pt idx="1">
                  <c:v>1.6E-2</c:v>
                </c:pt>
                <c:pt idx="2">
                  <c:v>1.4999999999999999E-2</c:v>
                </c:pt>
                <c:pt idx="3">
                  <c:v>1.6E-2</c:v>
                </c:pt>
                <c:pt idx="4">
                  <c:v>1.4999999999999999E-2</c:v>
                </c:pt>
                <c:pt idx="5">
                  <c:v>1.6E-2</c:v>
                </c:pt>
                <c:pt idx="6">
                  <c:v>1.4999999999999999E-2</c:v>
                </c:pt>
                <c:pt idx="7">
                  <c:v>1.6E-2</c:v>
                </c:pt>
                <c:pt idx="8">
                  <c:v>1.4999999999999999E-2</c:v>
                </c:pt>
                <c:pt idx="9">
                  <c:v>1.6E-2</c:v>
                </c:pt>
                <c:pt idx="10">
                  <c:v>1.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 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dLbl>
              <c:idx val="4"/>
              <c:layout>
                <c:manualLayout>
                  <c:x val="-2.7712500344417634E-2"/>
                  <c:y val="-2.52984128178624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5B2E-4F62-98B7-3B84FC9F2C21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1.2999999999999999E-2</c:v>
                </c:pt>
                <c:pt idx="1">
                  <c:v>1.2E-2</c:v>
                </c:pt>
                <c:pt idx="2">
                  <c:v>1.2999999999999999E-2</c:v>
                </c:pt>
                <c:pt idx="3">
                  <c:v>1.2E-2</c:v>
                </c:pt>
                <c:pt idx="4">
                  <c:v>1.2999999999999999E-2</c:v>
                </c:pt>
                <c:pt idx="5">
                  <c:v>1.2E-2</c:v>
                </c:pt>
                <c:pt idx="6">
                  <c:v>1.4999999999999999E-2</c:v>
                </c:pt>
                <c:pt idx="7">
                  <c:v>1.2E-2</c:v>
                </c:pt>
                <c:pt idx="8">
                  <c:v>1.4999999999999999E-2</c:v>
                </c:pt>
                <c:pt idx="9">
                  <c:v>1.2E-2</c:v>
                </c:pt>
                <c:pt idx="10">
                  <c:v>1.4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600000"/>
          <c:min val="1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  <c:majorUnit val="60000"/>
      </c:valAx>
      <c:valAx>
        <c:axId val="210962304"/>
        <c:scaling>
          <c:orientation val="minMax"/>
          <c:max val="2.0000000000000004E-2"/>
          <c:min val="-2.0000000000000004E-2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  <c:minorUnit val="5.000000000000001E-3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95386702849387E-3"/>
          <c:y val="3.1325301204819279E-2"/>
          <c:w val="0.98236092265943009"/>
          <c:h val="0.937349397590361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529-48B9-A6E5-22A84CAF3A8B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529-48B9-A6E5-22A84CAF3A8B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583500</c:v>
                </c:pt>
                <c:pt idx="1">
                  <c:v>383500</c:v>
                </c:pt>
                <c:pt idx="3">
                  <c:v>380500</c:v>
                </c:pt>
                <c:pt idx="4">
                  <c:v>373500</c:v>
                </c:pt>
                <c:pt idx="5">
                  <c:v>373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29-48B9-A6E5-22A84CAF3A8B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1">
                  <c:v>200000</c:v>
                </c:pt>
                <c:pt idx="3">
                  <c:v>3000</c:v>
                </c:pt>
                <c:pt idx="4">
                  <c:v>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529-48B9-A6E5-22A84CAF3A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91234864"/>
        <c:axId val="1"/>
      </c:barChart>
      <c:catAx>
        <c:axId val="491234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83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912348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958532674524174E-2"/>
          <c:y val="0.12018235711134571"/>
          <c:w val="0.88211769796794537"/>
          <c:h val="0.820143618433903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#,##0</c:formatCode>
                <c:ptCount val="11"/>
                <c:pt idx="2">
                  <c:v>3000</c:v>
                </c:pt>
                <c:pt idx="3">
                  <c:v>10000</c:v>
                </c:pt>
                <c:pt idx="4">
                  <c:v>12000</c:v>
                </c:pt>
                <c:pt idx="5">
                  <c:v>14000</c:v>
                </c:pt>
                <c:pt idx="6">
                  <c:v>16000</c:v>
                </c:pt>
                <c:pt idx="7">
                  <c:v>18000</c:v>
                </c:pt>
                <c:pt idx="8">
                  <c:v>20000</c:v>
                </c:pt>
                <c:pt idx="9">
                  <c:v>22000</c:v>
                </c:pt>
                <c:pt idx="10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B4-4B83-B157-09EB9AD1FBB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rgbClr val="026F4E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0EDB-41F4-A010-72BCBC96CB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#,##0</c:formatCode>
                <c:ptCount val="11"/>
                <c:pt idx="2">
                  <c:v>0</c:v>
                </c:pt>
                <c:pt idx="3">
                  <c:v>3000</c:v>
                </c:pt>
                <c:pt idx="4">
                  <c:v>10000</c:v>
                </c:pt>
                <c:pt idx="5">
                  <c:v>12000</c:v>
                </c:pt>
                <c:pt idx="6">
                  <c:v>14000</c:v>
                </c:pt>
                <c:pt idx="7">
                  <c:v>16000</c:v>
                </c:pt>
                <c:pt idx="8">
                  <c:v>18000</c:v>
                </c:pt>
                <c:pt idx="9">
                  <c:v>20000</c:v>
                </c:pt>
                <c:pt idx="10">
                  <c:v>2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1668352"/>
        <c:axId val="211678336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 SP</c:v>
                </c:pt>
              </c:strCache>
            </c:strRef>
          </c:tx>
          <c:spPr>
            <a:ln w="19050">
              <a:solidFill>
                <a:schemeClr val="tx1"/>
              </a:solidFill>
              <a:prstDash val="sysDot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/>
                </a:solidFill>
                <a:prstDash val="sysDot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C9B4-4B83-B157-09EB9AD1FBBB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2">
                  <c:v>1.2999999999999999E-3</c:v>
                </c:pt>
                <c:pt idx="3">
                  <c:v>1.2999999999999999E-3</c:v>
                </c:pt>
                <c:pt idx="4">
                  <c:v>1.2999999999999999E-3</c:v>
                </c:pt>
                <c:pt idx="5">
                  <c:v>1.2999999999999999E-3</c:v>
                </c:pt>
                <c:pt idx="6">
                  <c:v>1.2999999999999999E-3</c:v>
                </c:pt>
                <c:pt idx="7">
                  <c:v>1.2999999999999999E-3</c:v>
                </c:pt>
                <c:pt idx="8">
                  <c:v>1.2999999999999999E-3</c:v>
                </c:pt>
                <c:pt idx="9">
                  <c:v>1.2999999999999999E-3</c:v>
                </c:pt>
                <c:pt idx="10">
                  <c:v>1.299999999999999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9B4-4B83-B157-09EB9AD1FBB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 OP</c:v>
                </c:pt>
              </c:strCache>
            </c:strRef>
          </c:tx>
          <c:spPr>
            <a:ln w="22225">
              <a:solidFill>
                <a:srgbClr val="026F4E"/>
              </a:solidFill>
            </a:ln>
          </c:spPr>
          <c:marker>
            <c:symbol val="diamond"/>
            <c:size val="7"/>
            <c:spPr>
              <a:solidFill>
                <a:srgbClr val="026F4E"/>
              </a:solidFill>
              <a:ln>
                <a:solidFill>
                  <a:srgbClr val="026F4E"/>
                </a:solidFill>
              </a:ln>
            </c:spPr>
          </c:marker>
          <c:dLbls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3">
                  <c:v>2E-3</c:v>
                </c:pt>
                <c:pt idx="4">
                  <c:v>2E-3</c:v>
                </c:pt>
                <c:pt idx="5">
                  <c:v>2E-3</c:v>
                </c:pt>
                <c:pt idx="6">
                  <c:v>2E-3</c:v>
                </c:pt>
                <c:pt idx="7">
                  <c:v>2E-3</c:v>
                </c:pt>
                <c:pt idx="8">
                  <c:v>2E-3</c:v>
                </c:pt>
                <c:pt idx="9">
                  <c:v>2E-3</c:v>
                </c:pt>
                <c:pt idx="10">
                  <c:v>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165376"/>
        <c:axId val="211680256"/>
      </c:lineChart>
      <c:catAx>
        <c:axId val="211668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211678336"/>
        <c:crosses val="autoZero"/>
        <c:auto val="1"/>
        <c:lblAlgn val="ctr"/>
        <c:lblOffset val="100"/>
        <c:noMultiLvlLbl val="0"/>
      </c:catAx>
      <c:valAx>
        <c:axId val="211678336"/>
        <c:scaling>
          <c:orientation val="minMax"/>
          <c:max val="200000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211668352"/>
        <c:crosses val="autoZero"/>
        <c:crossBetween val="between"/>
        <c:dispUnits>
          <c:builtInUnit val="thousands"/>
        </c:dispUnits>
      </c:valAx>
      <c:valAx>
        <c:axId val="211680256"/>
        <c:scaling>
          <c:orientation val="minMax"/>
          <c:min val="-3.0000000000000006E-2"/>
        </c:scaling>
        <c:delete val="0"/>
        <c:axPos val="r"/>
        <c:numFmt formatCode="0%" sourceLinked="0"/>
        <c:majorTickMark val="none"/>
        <c:minorTickMark val="none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2165376"/>
        <c:crosses val="max"/>
        <c:crossBetween val="between"/>
      </c:valAx>
      <c:catAx>
        <c:axId val="212165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680256"/>
        <c:crosses val="autoZero"/>
        <c:auto val="1"/>
        <c:lblAlgn val="ctr"/>
        <c:lblOffset val="100"/>
        <c:noMultiLvlLbl val="0"/>
      </c:catAx>
      <c:spPr>
        <a:noFill/>
      </c:spPr>
    </c:plotArea>
    <c:legend>
      <c:legendPos val="r"/>
      <c:layout>
        <c:manualLayout>
          <c:xMode val="edge"/>
          <c:yMode val="edge"/>
          <c:x val="6.4543861380766884E-2"/>
          <c:y val="6.9198668097487171E-3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52582159624413E-3"/>
          <c:y val="3.2520325203252029E-2"/>
          <c:w val="0.98046948356807517"/>
          <c:h val="0.934959349593495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</c:v>
                </c:pt>
                <c:pt idx="1">
                  <c:v>220000</c:v>
                </c:pt>
                <c:pt idx="2">
                  <c:v>390000</c:v>
                </c:pt>
                <c:pt idx="3">
                  <c:v>560000</c:v>
                </c:pt>
                <c:pt idx="4">
                  <c:v>730000</c:v>
                </c:pt>
                <c:pt idx="5">
                  <c:v>900000</c:v>
                </c:pt>
                <c:pt idx="6">
                  <c:v>1070000</c:v>
                </c:pt>
                <c:pt idx="7">
                  <c:v>1240000</c:v>
                </c:pt>
                <c:pt idx="8">
                  <c:v>1410000</c:v>
                </c:pt>
                <c:pt idx="9">
                  <c:v>1580000</c:v>
                </c:pt>
                <c:pt idx="10">
                  <c:v>1750000</c:v>
                </c:pt>
                <c:pt idx="11">
                  <c:v>192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C9-46B5-B000-7E7CE06E52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399986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DC9-46B5-B000-7E7CE06E5227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DC9-46B5-B000-7E7CE06E5227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4DC9-46B5-B000-7E7CE06E5227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4DC9-46B5-B000-7E7CE06E5227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4DC9-46B5-B000-7E7CE06E5227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4DC9-46B5-B000-7E7CE06E5227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4DC9-46B5-B000-7E7CE06E5227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4DC9-46B5-B000-7E7CE06E5227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4DC9-46B5-B000-7E7CE06E5227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4DC9-46B5-B000-7E7CE06E5227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4DC9-46B5-B000-7E7CE06E5227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4DC9-46B5-B000-7E7CE06E5227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.0000000000000009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.000000000000002</c:v>
                </c:pt>
                <c:pt idx="11">
                  <c:v>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4DC9-46B5-B000-7E7CE06E52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733999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733999864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35856992639326E-2"/>
          <c:y val="2.7762947143619859E-2"/>
          <c:w val="0.97812828601472124"/>
          <c:h val="0.9444741057127602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977D-4BBD-9476-DCB8650582E0}"/>
              </c:ext>
            </c:extLst>
          </c:dPt>
          <c:dPt>
            <c:idx val="3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77D-4BBD-9476-DCB8650582E0}"/>
              </c:ext>
            </c:extLst>
          </c:dPt>
          <c:dPt>
            <c:idx val="6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77D-4BBD-9476-DCB8650582E0}"/>
              </c:ext>
            </c:extLst>
          </c:dPt>
          <c:dPt>
            <c:idx val="9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977D-4BBD-9476-DCB8650582E0}"/>
              </c:ext>
            </c:extLst>
          </c:dPt>
          <c:dPt>
            <c:idx val="12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977D-4BBD-9476-DCB8650582E0}"/>
              </c:ext>
            </c:extLst>
          </c:dPt>
          <c:dPt>
            <c:idx val="15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977D-4BBD-9476-DCB8650582E0}"/>
              </c:ext>
            </c:extLst>
          </c:dPt>
          <c:dPt>
            <c:idx val="18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977D-4BBD-9476-DCB8650582E0}"/>
              </c:ext>
            </c:extLst>
          </c:dPt>
          <c:dPt>
            <c:idx val="21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977D-4BBD-9476-DCB8650582E0}"/>
              </c:ext>
            </c:extLst>
          </c:dPt>
          <c:dPt>
            <c:idx val="24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977D-4BBD-9476-DCB8650582E0}"/>
              </c:ext>
            </c:extLst>
          </c:dPt>
          <c:dPt>
            <c:idx val="27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977D-4BBD-9476-DCB8650582E0}"/>
              </c:ext>
            </c:extLst>
          </c:dPt>
          <c:dPt>
            <c:idx val="30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977D-4BBD-9476-DCB8650582E0}"/>
              </c:ext>
            </c:extLst>
          </c:dPt>
          <c:dPt>
            <c:idx val="33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977D-4BBD-9476-DCB8650582E0}"/>
              </c:ext>
            </c:extLst>
          </c:dPt>
          <c:val>
            <c:numRef>
              <c:f>Sheet1!$A$1:$AH$1</c:f>
              <c:numCache>
                <c:formatCode>General</c:formatCode>
                <c:ptCount val="34"/>
                <c:pt idx="0">
                  <c:v>20000000</c:v>
                </c:pt>
                <c:pt idx="2">
                  <c:v>15000000</c:v>
                </c:pt>
                <c:pt idx="3">
                  <c:v>15000000</c:v>
                </c:pt>
                <c:pt idx="5">
                  <c:v>15000000</c:v>
                </c:pt>
                <c:pt idx="6">
                  <c:v>15000000</c:v>
                </c:pt>
                <c:pt idx="8">
                  <c:v>15000000</c:v>
                </c:pt>
                <c:pt idx="9">
                  <c:v>15000000</c:v>
                </c:pt>
                <c:pt idx="11">
                  <c:v>15000000</c:v>
                </c:pt>
                <c:pt idx="12">
                  <c:v>15000000</c:v>
                </c:pt>
                <c:pt idx="14">
                  <c:v>15000000</c:v>
                </c:pt>
                <c:pt idx="15">
                  <c:v>15000000</c:v>
                </c:pt>
                <c:pt idx="17">
                  <c:v>15000000</c:v>
                </c:pt>
                <c:pt idx="18">
                  <c:v>15000000</c:v>
                </c:pt>
                <c:pt idx="20">
                  <c:v>15000000</c:v>
                </c:pt>
                <c:pt idx="21">
                  <c:v>15000000</c:v>
                </c:pt>
                <c:pt idx="23">
                  <c:v>15000000</c:v>
                </c:pt>
                <c:pt idx="24">
                  <c:v>15000000</c:v>
                </c:pt>
                <c:pt idx="26">
                  <c:v>15000000</c:v>
                </c:pt>
                <c:pt idx="27">
                  <c:v>15000000</c:v>
                </c:pt>
                <c:pt idx="29">
                  <c:v>15000000</c:v>
                </c:pt>
                <c:pt idx="30">
                  <c:v>15000000</c:v>
                </c:pt>
                <c:pt idx="32">
                  <c:v>15000000</c:v>
                </c:pt>
                <c:pt idx="33">
                  <c:v>15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77D-4BBD-9476-DCB8650582E0}"/>
            </c:ext>
          </c:extLst>
        </c:ser>
        <c:ser>
          <c:idx val="1"/>
          <c:order val="1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977D-4BBD-9476-DCB8650582E0}"/>
              </c:ext>
            </c:extLst>
          </c:dPt>
          <c:dPt>
            <c:idx val="5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977D-4BBD-9476-DCB8650582E0}"/>
              </c:ext>
            </c:extLst>
          </c:dPt>
          <c:dPt>
            <c:idx val="8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977D-4BBD-9476-DCB8650582E0}"/>
              </c:ext>
            </c:extLst>
          </c:dPt>
          <c:dPt>
            <c:idx val="11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977D-4BBD-9476-DCB8650582E0}"/>
              </c:ext>
            </c:extLst>
          </c:dPt>
          <c:dPt>
            <c:idx val="14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977D-4BBD-9476-DCB8650582E0}"/>
              </c:ext>
            </c:extLst>
          </c:dPt>
          <c:dPt>
            <c:idx val="17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977D-4BBD-9476-DCB8650582E0}"/>
              </c:ext>
            </c:extLst>
          </c:dPt>
          <c:dPt>
            <c:idx val="20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977D-4BBD-9476-DCB8650582E0}"/>
              </c:ext>
            </c:extLst>
          </c:dPt>
          <c:dPt>
            <c:idx val="23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977D-4BBD-9476-DCB8650582E0}"/>
              </c:ext>
            </c:extLst>
          </c:dPt>
          <c:dPt>
            <c:idx val="26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977D-4BBD-9476-DCB8650582E0}"/>
              </c:ext>
            </c:extLst>
          </c:dPt>
          <c:dPt>
            <c:idx val="29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977D-4BBD-9476-DCB8650582E0}"/>
              </c:ext>
            </c:extLst>
          </c:dPt>
          <c:dPt>
            <c:idx val="32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977D-4BBD-9476-DCB8650582E0}"/>
              </c:ext>
            </c:extLst>
          </c:dPt>
          <c:val>
            <c:numRef>
              <c:f>Sheet1!$A$2:$AH$2</c:f>
              <c:numCache>
                <c:formatCode>General</c:formatCode>
                <c:ptCount val="34"/>
                <c:pt idx="0">
                  <c:v>1000000</c:v>
                </c:pt>
                <c:pt idx="2">
                  <c:v>1000000</c:v>
                </c:pt>
                <c:pt idx="3">
                  <c:v>1000000</c:v>
                </c:pt>
                <c:pt idx="5">
                  <c:v>1000000</c:v>
                </c:pt>
                <c:pt idx="6">
                  <c:v>1000000</c:v>
                </c:pt>
                <c:pt idx="8">
                  <c:v>1000000</c:v>
                </c:pt>
                <c:pt idx="9">
                  <c:v>1000000</c:v>
                </c:pt>
                <c:pt idx="11">
                  <c:v>1000000</c:v>
                </c:pt>
                <c:pt idx="12">
                  <c:v>1000000</c:v>
                </c:pt>
                <c:pt idx="14">
                  <c:v>1000000</c:v>
                </c:pt>
                <c:pt idx="15">
                  <c:v>1000000</c:v>
                </c:pt>
                <c:pt idx="17">
                  <c:v>1000000</c:v>
                </c:pt>
                <c:pt idx="18">
                  <c:v>1000000</c:v>
                </c:pt>
                <c:pt idx="20">
                  <c:v>1000000</c:v>
                </c:pt>
                <c:pt idx="21">
                  <c:v>1000000</c:v>
                </c:pt>
                <c:pt idx="23">
                  <c:v>1000000</c:v>
                </c:pt>
                <c:pt idx="24">
                  <c:v>1000000</c:v>
                </c:pt>
                <c:pt idx="26">
                  <c:v>1000000</c:v>
                </c:pt>
                <c:pt idx="27">
                  <c:v>1000000</c:v>
                </c:pt>
                <c:pt idx="29">
                  <c:v>1000000</c:v>
                </c:pt>
                <c:pt idx="30">
                  <c:v>1000000</c:v>
                </c:pt>
                <c:pt idx="32">
                  <c:v>1000000</c:v>
                </c:pt>
                <c:pt idx="33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977D-4BBD-9476-DCB8650582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06756392"/>
        <c:axId val="1"/>
      </c:barChart>
      <c:catAx>
        <c:axId val="406756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1000000"/>
          <c:min val="-1.5"/>
        </c:scaling>
        <c:delete val="1"/>
        <c:axPos val="r"/>
        <c:numFmt formatCode="General" sourceLinked="1"/>
        <c:majorTickMark val="out"/>
        <c:minorTickMark val="none"/>
        <c:tickLblPos val="nextTo"/>
        <c:crossAx val="40675639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7069234773555439E-2"/>
          <c:w val="0.98041800037657689"/>
          <c:h val="0.945861530452889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4000000</c:v>
                </c:pt>
                <c:pt idx="1">
                  <c:v>4500000</c:v>
                </c:pt>
                <c:pt idx="2">
                  <c:v>5000000</c:v>
                </c:pt>
                <c:pt idx="3">
                  <c:v>5500000</c:v>
                </c:pt>
                <c:pt idx="4">
                  <c:v>6000000</c:v>
                </c:pt>
                <c:pt idx="5">
                  <c:v>6500000</c:v>
                </c:pt>
                <c:pt idx="6">
                  <c:v>7000000</c:v>
                </c:pt>
                <c:pt idx="7">
                  <c:v>7500000</c:v>
                </c:pt>
                <c:pt idx="8">
                  <c:v>8000000</c:v>
                </c:pt>
                <c:pt idx="9">
                  <c:v>8500000</c:v>
                </c:pt>
                <c:pt idx="10">
                  <c:v>9000000</c:v>
                </c:pt>
                <c:pt idx="11">
                  <c:v>9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10-41DF-9468-02AF6FEBE1DC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50000</c:v>
                </c:pt>
                <c:pt idx="1">
                  <c:v>100000</c:v>
                </c:pt>
                <c:pt idx="2">
                  <c:v>150000</c:v>
                </c:pt>
                <c:pt idx="3">
                  <c:v>200000</c:v>
                </c:pt>
                <c:pt idx="4">
                  <c:v>250000</c:v>
                </c:pt>
                <c:pt idx="5">
                  <c:v>300000</c:v>
                </c:pt>
                <c:pt idx="6">
                  <c:v>350000</c:v>
                </c:pt>
                <c:pt idx="7">
                  <c:v>400000</c:v>
                </c:pt>
                <c:pt idx="8">
                  <c:v>450000</c:v>
                </c:pt>
                <c:pt idx="9">
                  <c:v>500000</c:v>
                </c:pt>
                <c:pt idx="10">
                  <c:v>550000</c:v>
                </c:pt>
                <c:pt idx="11">
                  <c:v>6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10-41DF-9468-02AF6FEBE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5068744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E10-41DF-9468-02AF6FEBE1DC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E10-41DF-9468-02AF6FEBE1DC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E10-41DF-9468-02AF6FEBE1DC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E10-41DF-9468-02AF6FEBE1DC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E10-41DF-9468-02AF6FEBE1DC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E10-41DF-9468-02AF6FEBE1DC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E10-41DF-9468-02AF6FEBE1DC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E10-41DF-9468-02AF6FEBE1DC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E10-41DF-9468-02AF6FEBE1DC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E10-41DF-9468-02AF6FEBE1DC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E10-41DF-9468-02AF6FEBE1DC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E10-41DF-9468-02AF6FEBE1DC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20</c:v>
                </c:pt>
                <c:pt idx="11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1E10-41DF-9468-02AF6FEBE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605068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605068744"/>
        <c:crosses val="min"/>
        <c:crossBetween val="between"/>
        <c:majorUnit val="1000000"/>
      </c:valAx>
      <c:valAx>
        <c:axId val="2"/>
        <c:scaling>
          <c:orientation val="minMax"/>
          <c:max val="2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586319218241044E-2"/>
          <c:y val="3.6775106082036775E-2"/>
          <c:w val="0.97882736156351791"/>
          <c:h val="0.92644978783592646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2:$L$2</c:f>
              <c:numCache>
                <c:formatCode>General</c:formatCode>
                <c:ptCount val="12"/>
                <c:pt idx="0">
                  <c:v>6.5287356321839107</c:v>
                </c:pt>
                <c:pt idx="1">
                  <c:v>6.5287356321839107</c:v>
                </c:pt>
                <c:pt idx="2">
                  <c:v>6.5287356321839107</c:v>
                </c:pt>
                <c:pt idx="3">
                  <c:v>6.5287356321839107</c:v>
                </c:pt>
                <c:pt idx="4">
                  <c:v>6.5287356321839107</c:v>
                </c:pt>
                <c:pt idx="5">
                  <c:v>6.5287356321839107</c:v>
                </c:pt>
                <c:pt idx="6">
                  <c:v>6.5287356321839107</c:v>
                </c:pt>
                <c:pt idx="7">
                  <c:v>6.5287356321839107</c:v>
                </c:pt>
                <c:pt idx="8">
                  <c:v>6.5287356321839107</c:v>
                </c:pt>
                <c:pt idx="9">
                  <c:v>6.5287356321839107</c:v>
                </c:pt>
                <c:pt idx="10">
                  <c:v>6.5287356321839107</c:v>
                </c:pt>
                <c:pt idx="11">
                  <c:v>6.52873563218391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EB80-4551-9776-8A373E7251D6}"/>
            </c:ext>
          </c:extLst>
        </c:ser>
        <c:ser>
          <c:idx val="1"/>
          <c:order val="1"/>
          <c:spPr>
            <a:ln w="19050" algn="ctr">
              <a:solidFill>
                <a:srgbClr val="004666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3:$L$3</c:f>
              <c:numCache>
                <c:formatCode>General</c:formatCode>
                <c:ptCount val="12"/>
                <c:pt idx="0">
                  <c:v>5.528735632183909</c:v>
                </c:pt>
                <c:pt idx="1">
                  <c:v>5.528735632183909</c:v>
                </c:pt>
                <c:pt idx="2">
                  <c:v>5.528735632183909</c:v>
                </c:pt>
                <c:pt idx="3">
                  <c:v>5.528735632183909</c:v>
                </c:pt>
                <c:pt idx="4">
                  <c:v>5.528735632183909</c:v>
                </c:pt>
                <c:pt idx="5">
                  <c:v>5.528735632183909</c:v>
                </c:pt>
                <c:pt idx="6">
                  <c:v>5.528735632183909</c:v>
                </c:pt>
                <c:pt idx="7">
                  <c:v>5.528735632183909</c:v>
                </c:pt>
                <c:pt idx="8">
                  <c:v>5.528735632183909</c:v>
                </c:pt>
                <c:pt idx="9">
                  <c:v>5.528735632183909</c:v>
                </c:pt>
                <c:pt idx="10">
                  <c:v>5.528735632183909</c:v>
                </c:pt>
                <c:pt idx="11">
                  <c:v>5.52873563218390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EB80-4551-9776-8A373E7251D6}"/>
            </c:ext>
          </c:extLst>
        </c:ser>
        <c:ser>
          <c:idx val="2"/>
          <c:order val="2"/>
          <c:spPr>
            <a:ln w="19050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4:$L$4</c:f>
              <c:numCache>
                <c:formatCode>General</c:formatCode>
                <c:ptCount val="12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EB80-4551-9776-8A373E7251D6}"/>
            </c:ext>
          </c:extLst>
        </c:ser>
        <c:ser>
          <c:idx val="3"/>
          <c:order val="3"/>
          <c:spPr>
            <a:ln w="19050" algn="ctr">
              <a:solidFill>
                <a:srgbClr val="008000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5:$L$5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EB80-4551-9776-8A373E7251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9886672"/>
        <c:axId val="1"/>
      </c:scatterChart>
      <c:valAx>
        <c:axId val="589886672"/>
        <c:scaling>
          <c:orientation val="minMax"/>
          <c:max val="2030"/>
          <c:min val="2019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7.5287356321839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589886672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96568429551876E-2"/>
          <c:y val="3.9634146341463415E-2"/>
          <c:w val="0.97900686314089624"/>
          <c:h val="0.920731707317073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</c:v>
                </c:pt>
                <c:pt idx="1">
                  <c:v>100000</c:v>
                </c:pt>
                <c:pt idx="2">
                  <c:v>150000</c:v>
                </c:pt>
                <c:pt idx="3">
                  <c:v>200000</c:v>
                </c:pt>
                <c:pt idx="4">
                  <c:v>250000</c:v>
                </c:pt>
                <c:pt idx="5">
                  <c:v>300000</c:v>
                </c:pt>
                <c:pt idx="6">
                  <c:v>350000</c:v>
                </c:pt>
                <c:pt idx="7">
                  <c:v>400000</c:v>
                </c:pt>
                <c:pt idx="8">
                  <c:v>450000</c:v>
                </c:pt>
                <c:pt idx="9">
                  <c:v>500000</c:v>
                </c:pt>
                <c:pt idx="10">
                  <c:v>550000</c:v>
                </c:pt>
                <c:pt idx="11">
                  <c:v>6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B-4C47-A71A-5B6F1EAD3C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4161588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A13B-4C47-A71A-5B6F1EAD3C7D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13B-4C47-A71A-5B6F1EAD3C7D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13B-4C47-A71A-5B6F1EAD3C7D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13B-4C47-A71A-5B6F1EAD3C7D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A13B-4C47-A71A-5B6F1EAD3C7D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A13B-4C47-A71A-5B6F1EAD3C7D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13B-4C47-A71A-5B6F1EAD3C7D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A13B-4C47-A71A-5B6F1EAD3C7D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A13B-4C47-A71A-5B6F1EAD3C7D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A13B-4C47-A71A-5B6F1EAD3C7D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A13B-4C47-A71A-5B6F1EAD3C7D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A13B-4C47-A71A-5B6F1EAD3C7D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5</c:v>
                </c:pt>
                <c:pt idx="1">
                  <c:v>6</c:v>
                </c:pt>
                <c:pt idx="2">
                  <c:v>7.0000000000000009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.000000000000002</c:v>
                </c:pt>
                <c:pt idx="10">
                  <c:v>15</c:v>
                </c:pt>
                <c:pt idx="11">
                  <c:v>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13B-4C47-A71A-5B6F1EAD3C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541615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541615880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797814207650268E-3"/>
          <c:y val="2.8446389496717725E-2"/>
          <c:w val="0.98224043715846998"/>
          <c:h val="0.9431072210065645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4AF-4496-A1AC-9610F5A83ECE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4AF-4496-A1AC-9610F5A83ECE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396321.8390804599</c:v>
                </c:pt>
                <c:pt idx="1">
                  <c:v>296321.8390804599</c:v>
                </c:pt>
                <c:pt idx="2">
                  <c:v>296321.8390804599</c:v>
                </c:pt>
                <c:pt idx="3">
                  <c:v>346321.8390804599</c:v>
                </c:pt>
                <c:pt idx="4">
                  <c:v>296321.8390804599</c:v>
                </c:pt>
                <c:pt idx="5">
                  <c:v>296321.8390804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AF-4496-A1AC-9610F5A83ECE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4AF-4496-A1AC-9610F5A83ECE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</c:v>
                </c:pt>
                <c:pt idx="2">
                  <c:v>100000</c:v>
                </c:pt>
                <c:pt idx="3">
                  <c:v>50000</c:v>
                </c:pt>
                <c:pt idx="4">
                  <c:v>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AF-4496-A1AC-9610F5A83E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2369624"/>
        <c:axId val="1"/>
      </c:barChart>
      <c:catAx>
        <c:axId val="612369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6321.83908045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23696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22:17.476" idx="5">
    <p:pos x="10" y="10"/>
    <p:text>6-11页是一个类型图，表格维度不一样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08:13.386" idx="4">
    <p:pos x="10" y="10"/>
    <p:text>图同上页，同一类型，表有变化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08:13.386" idx="4">
    <p:pos x="10" y="10"/>
    <p:text>图同上页，同一类型，表有变化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08:13.386" idx="4">
    <p:pos x="10" y="10"/>
    <p:text>图同上页，同一类型，表有变化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08:13.386" idx="4">
    <p:pos x="10" y="10"/>
    <p:text>图同上页，同一类型，表有变化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69248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8500" y="739775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7476" y="4687381"/>
            <a:ext cx="4943987" cy="4443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792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01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776" indent="-285683" defTabSz="91101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732" indent="-228548" defTabSz="91101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824" indent="-228548" defTabSz="91101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6917" indent="-228548" defTabSz="91101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009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103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195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288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370E58-3B1B-4A83-B54B-15D2B10490FB}" type="slidenum">
              <a:rPr lang="zh-CN" altLang="en-US" sz="1200"/>
              <a:pPr/>
              <a:t>1</a:t>
            </a:fld>
            <a:endParaRPr lang="en-US" altLang="zh-CN" sz="1200" dirty="0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9775"/>
            <a:ext cx="5348288" cy="3702050"/>
          </a:xfrm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884" y="4687416"/>
            <a:ext cx="4943175" cy="4442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Group Market </a:t>
            </a:r>
            <a:r>
              <a:rPr lang="de-DE" dirty="0" err="1" smtClean="0"/>
              <a:t>Intelligenc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0501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03010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2274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8399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17310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18218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18090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57373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4546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433104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2084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65644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41642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291349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22028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7599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62077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252270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73542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720667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7613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915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7AD731A-45D6-45F1-9911-161B03F1254D}" type="slidenum">
              <a:rPr lang="de-DE"/>
              <a:pPr/>
              <a:t>5</a:t>
            </a:fld>
            <a:endParaRPr lang="de-DE" dirty="0"/>
          </a:p>
        </p:txBody>
      </p:sp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9829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11912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914001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389888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134311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641276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4601067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6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311242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0533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937B39-FBD3-4C67-AC5B-621FD0E1CEEA}" type="slidenum">
              <a:rPr lang="zh-CN" altLang="de-DE" smtClean="0"/>
              <a:pPr>
                <a:defRPr/>
              </a:pPr>
              <a:t>7</a:t>
            </a:fld>
            <a:endParaRPr lang="de-DE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1911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1893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51271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55664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28246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610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96875" y="1697038"/>
            <a:ext cx="909796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latin typeface="VWAG TheSans" panose="020B0502050302020203" pitchFamily="34" charset="0"/>
            </a:endParaRPr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4271963"/>
            <a:ext cx="9088438" cy="1082675"/>
          </a:xfrm>
        </p:spPr>
        <p:txBody>
          <a:bodyPr/>
          <a:lstStyle>
            <a:lvl1pPr>
              <a:lnSpc>
                <a:spcPts val="3988"/>
              </a:lnSpc>
              <a:defRPr sz="2800"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6400" y="5351463"/>
            <a:ext cx="9088438" cy="823912"/>
          </a:xfrm>
        </p:spPr>
        <p:txBody>
          <a:bodyPr/>
          <a:lstStyle>
            <a:lvl1pPr>
              <a:lnSpc>
                <a:spcPts val="3988"/>
              </a:lnSpc>
              <a:defRPr sz="2400">
                <a:solidFill>
                  <a:schemeClr val="tx2"/>
                </a:solidFill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8" name="Picture 59" descr="VWGCN-en_CO_M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88" y="701675"/>
            <a:ext cx="1860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3817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6958" y="6558828"/>
            <a:ext cx="2235613" cy="265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674688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85071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9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6958" y="6558828"/>
            <a:ext cx="2235613" cy="265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674688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056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3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3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</a:pPr>
            <a:endParaRPr lang="en-US" sz="20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WAG TheSans"/>
                <a:ea typeface="+mj-ea"/>
                <a:cs typeface="+mj-cs"/>
                <a:sym typeface="VWAG TheSans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VWAG TheSans"/>
                <a:ea typeface="宋体"/>
                <a:cs typeface="+mn-cs"/>
                <a:sym typeface="VWAG TheSans"/>
              </a:defRPr>
            </a:lvl1pPr>
          </a:lstStyle>
          <a:p>
            <a:pPr>
              <a:defRPr/>
            </a:pPr>
            <a:fld id="{1D410744-1FE7-4612-AE90-51EA60CCF34E}" type="slidenum">
              <a:rPr lang="zh-CN" altLang="de-DE" smtClean="0"/>
              <a:pPr>
                <a:defRPr/>
              </a:pPr>
              <a:t>‹#›</a:t>
            </a:fld>
            <a:endParaRPr lang="de-DE" altLang="zh-CN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81000" y="6553201"/>
            <a:ext cx="1981200" cy="1524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Group Market and Sales Steer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939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9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57363"/>
            <a:ext cx="9104312" cy="458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Mastertitelformat bearbeiten</a:t>
            </a:r>
          </a:p>
        </p:txBody>
      </p:sp>
      <p:sp>
        <p:nvSpPr>
          <p:cNvPr id="25498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6958" y="6558828"/>
            <a:ext cx="2268271" cy="2229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674688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92113" y="762000"/>
            <a:ext cx="9102725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noProof="0" dirty="0">
              <a:latin typeface="VWAG TheSans" panose="020B0502050302020203" pitchFamily="34" charset="0"/>
            </a:endParaRPr>
          </a:p>
        </p:txBody>
      </p:sp>
      <p:pic>
        <p:nvPicPr>
          <p:cNvPr id="9" name="Picture 9" descr="VWGCN-en_CO_M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04800"/>
            <a:ext cx="12922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0875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2" r:id="rId3"/>
    <p:sldLayoutId id="2147483656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WAG TheSans" panose="020B0502050302020203" pitchFamily="34" charset="0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VWAG TheSans" panose="020B0502050302020203" pitchFamily="34" charset="0"/>
          <a:ea typeface="+mn-ea"/>
          <a:cs typeface="+mn-cs"/>
        </a:defRPr>
      </a:lvl1pPr>
      <a:lvl2pPr marL="190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2pPr>
      <a:lvl3pPr marL="381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3pPr>
      <a:lvl4pPr marL="571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4pPr>
      <a:lvl5pPr marL="762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5pPr>
      <a:lvl6pPr marL="12192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6764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21336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5908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6.xml"/><Relationship Id="rId7" Type="http://schemas.openxmlformats.org/officeDocument/2006/relationships/image" Target="../media/image9.emf"/><Relationship Id="rId2" Type="http://schemas.openxmlformats.org/officeDocument/2006/relationships/tags" Target="../tags/tag35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372.xml"/><Relationship Id="rId18" Type="http://schemas.openxmlformats.org/officeDocument/2006/relationships/tags" Target="../tags/tag377.xml"/><Relationship Id="rId26" Type="http://schemas.openxmlformats.org/officeDocument/2006/relationships/tags" Target="../tags/tag385.xml"/><Relationship Id="rId39" Type="http://schemas.openxmlformats.org/officeDocument/2006/relationships/tags" Target="../tags/tag398.xml"/><Relationship Id="rId21" Type="http://schemas.openxmlformats.org/officeDocument/2006/relationships/tags" Target="../tags/tag380.xml"/><Relationship Id="rId34" Type="http://schemas.openxmlformats.org/officeDocument/2006/relationships/tags" Target="../tags/tag393.xml"/><Relationship Id="rId42" Type="http://schemas.openxmlformats.org/officeDocument/2006/relationships/tags" Target="../tags/tag401.xml"/><Relationship Id="rId47" Type="http://schemas.openxmlformats.org/officeDocument/2006/relationships/tags" Target="../tags/tag406.xml"/><Relationship Id="rId50" Type="http://schemas.openxmlformats.org/officeDocument/2006/relationships/tags" Target="../tags/tag409.xml"/><Relationship Id="rId55" Type="http://schemas.openxmlformats.org/officeDocument/2006/relationships/tags" Target="../tags/tag414.xml"/><Relationship Id="rId63" Type="http://schemas.openxmlformats.org/officeDocument/2006/relationships/tags" Target="../tags/tag422.xml"/><Relationship Id="rId68" Type="http://schemas.openxmlformats.org/officeDocument/2006/relationships/tags" Target="../tags/tag427.xml"/><Relationship Id="rId7" Type="http://schemas.openxmlformats.org/officeDocument/2006/relationships/tags" Target="../tags/tag366.xml"/><Relationship Id="rId71" Type="http://schemas.openxmlformats.org/officeDocument/2006/relationships/tags" Target="../tags/tag430.xml"/><Relationship Id="rId2" Type="http://schemas.openxmlformats.org/officeDocument/2006/relationships/tags" Target="../tags/tag361.xml"/><Relationship Id="rId16" Type="http://schemas.openxmlformats.org/officeDocument/2006/relationships/tags" Target="../tags/tag375.xml"/><Relationship Id="rId29" Type="http://schemas.openxmlformats.org/officeDocument/2006/relationships/tags" Target="../tags/tag388.xml"/><Relationship Id="rId11" Type="http://schemas.openxmlformats.org/officeDocument/2006/relationships/tags" Target="../tags/tag370.xml"/><Relationship Id="rId24" Type="http://schemas.openxmlformats.org/officeDocument/2006/relationships/tags" Target="../tags/tag383.xml"/><Relationship Id="rId32" Type="http://schemas.openxmlformats.org/officeDocument/2006/relationships/tags" Target="../tags/tag391.xml"/><Relationship Id="rId37" Type="http://schemas.openxmlformats.org/officeDocument/2006/relationships/tags" Target="../tags/tag396.xml"/><Relationship Id="rId40" Type="http://schemas.openxmlformats.org/officeDocument/2006/relationships/tags" Target="../tags/tag399.xml"/><Relationship Id="rId45" Type="http://schemas.openxmlformats.org/officeDocument/2006/relationships/tags" Target="../tags/tag404.xml"/><Relationship Id="rId53" Type="http://schemas.openxmlformats.org/officeDocument/2006/relationships/tags" Target="../tags/tag412.xml"/><Relationship Id="rId58" Type="http://schemas.openxmlformats.org/officeDocument/2006/relationships/tags" Target="../tags/tag417.xml"/><Relationship Id="rId66" Type="http://schemas.openxmlformats.org/officeDocument/2006/relationships/tags" Target="../tags/tag425.xml"/><Relationship Id="rId74" Type="http://schemas.openxmlformats.org/officeDocument/2006/relationships/image" Target="../media/image6.emf"/><Relationship Id="rId5" Type="http://schemas.openxmlformats.org/officeDocument/2006/relationships/tags" Target="../tags/tag364.xml"/><Relationship Id="rId15" Type="http://schemas.openxmlformats.org/officeDocument/2006/relationships/tags" Target="../tags/tag374.xml"/><Relationship Id="rId23" Type="http://schemas.openxmlformats.org/officeDocument/2006/relationships/tags" Target="../tags/tag382.xml"/><Relationship Id="rId28" Type="http://schemas.openxmlformats.org/officeDocument/2006/relationships/tags" Target="../tags/tag387.xml"/><Relationship Id="rId36" Type="http://schemas.openxmlformats.org/officeDocument/2006/relationships/tags" Target="../tags/tag395.xml"/><Relationship Id="rId49" Type="http://schemas.openxmlformats.org/officeDocument/2006/relationships/tags" Target="../tags/tag408.xml"/><Relationship Id="rId57" Type="http://schemas.openxmlformats.org/officeDocument/2006/relationships/tags" Target="../tags/tag416.xml"/><Relationship Id="rId61" Type="http://schemas.openxmlformats.org/officeDocument/2006/relationships/tags" Target="../tags/tag420.xml"/><Relationship Id="rId10" Type="http://schemas.openxmlformats.org/officeDocument/2006/relationships/tags" Target="../tags/tag369.xml"/><Relationship Id="rId19" Type="http://schemas.openxmlformats.org/officeDocument/2006/relationships/tags" Target="../tags/tag378.xml"/><Relationship Id="rId31" Type="http://schemas.openxmlformats.org/officeDocument/2006/relationships/tags" Target="../tags/tag390.xml"/><Relationship Id="rId44" Type="http://schemas.openxmlformats.org/officeDocument/2006/relationships/tags" Target="../tags/tag403.xml"/><Relationship Id="rId52" Type="http://schemas.openxmlformats.org/officeDocument/2006/relationships/tags" Target="../tags/tag411.xml"/><Relationship Id="rId60" Type="http://schemas.openxmlformats.org/officeDocument/2006/relationships/tags" Target="../tags/tag419.xml"/><Relationship Id="rId65" Type="http://schemas.openxmlformats.org/officeDocument/2006/relationships/tags" Target="../tags/tag424.xml"/><Relationship Id="rId73" Type="http://schemas.openxmlformats.org/officeDocument/2006/relationships/oleObject" Target="../embeddings/oleObject17.bin"/><Relationship Id="rId4" Type="http://schemas.openxmlformats.org/officeDocument/2006/relationships/tags" Target="../tags/tag363.xml"/><Relationship Id="rId9" Type="http://schemas.openxmlformats.org/officeDocument/2006/relationships/tags" Target="../tags/tag368.xml"/><Relationship Id="rId14" Type="http://schemas.openxmlformats.org/officeDocument/2006/relationships/tags" Target="../tags/tag373.xml"/><Relationship Id="rId22" Type="http://schemas.openxmlformats.org/officeDocument/2006/relationships/tags" Target="../tags/tag381.xml"/><Relationship Id="rId27" Type="http://schemas.openxmlformats.org/officeDocument/2006/relationships/tags" Target="../tags/tag386.xml"/><Relationship Id="rId30" Type="http://schemas.openxmlformats.org/officeDocument/2006/relationships/tags" Target="../tags/tag389.xml"/><Relationship Id="rId35" Type="http://schemas.openxmlformats.org/officeDocument/2006/relationships/tags" Target="../tags/tag394.xml"/><Relationship Id="rId43" Type="http://schemas.openxmlformats.org/officeDocument/2006/relationships/tags" Target="../tags/tag402.xml"/><Relationship Id="rId48" Type="http://schemas.openxmlformats.org/officeDocument/2006/relationships/tags" Target="../tags/tag407.xml"/><Relationship Id="rId56" Type="http://schemas.openxmlformats.org/officeDocument/2006/relationships/tags" Target="../tags/tag415.xml"/><Relationship Id="rId64" Type="http://schemas.openxmlformats.org/officeDocument/2006/relationships/tags" Target="../tags/tag423.xml"/><Relationship Id="rId69" Type="http://schemas.openxmlformats.org/officeDocument/2006/relationships/tags" Target="../tags/tag428.xml"/><Relationship Id="rId8" Type="http://schemas.openxmlformats.org/officeDocument/2006/relationships/tags" Target="../tags/tag367.xml"/><Relationship Id="rId51" Type="http://schemas.openxmlformats.org/officeDocument/2006/relationships/tags" Target="../tags/tag410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362.xml"/><Relationship Id="rId12" Type="http://schemas.openxmlformats.org/officeDocument/2006/relationships/tags" Target="../tags/tag371.xml"/><Relationship Id="rId17" Type="http://schemas.openxmlformats.org/officeDocument/2006/relationships/tags" Target="../tags/tag376.xml"/><Relationship Id="rId25" Type="http://schemas.openxmlformats.org/officeDocument/2006/relationships/tags" Target="../tags/tag384.xml"/><Relationship Id="rId33" Type="http://schemas.openxmlformats.org/officeDocument/2006/relationships/tags" Target="../tags/tag392.xml"/><Relationship Id="rId38" Type="http://schemas.openxmlformats.org/officeDocument/2006/relationships/tags" Target="../tags/tag397.xml"/><Relationship Id="rId46" Type="http://schemas.openxmlformats.org/officeDocument/2006/relationships/tags" Target="../tags/tag405.xml"/><Relationship Id="rId59" Type="http://schemas.openxmlformats.org/officeDocument/2006/relationships/tags" Target="../tags/tag418.xml"/><Relationship Id="rId67" Type="http://schemas.openxmlformats.org/officeDocument/2006/relationships/tags" Target="../tags/tag426.xml"/><Relationship Id="rId20" Type="http://schemas.openxmlformats.org/officeDocument/2006/relationships/tags" Target="../tags/tag379.xml"/><Relationship Id="rId41" Type="http://schemas.openxmlformats.org/officeDocument/2006/relationships/tags" Target="../tags/tag400.xml"/><Relationship Id="rId54" Type="http://schemas.openxmlformats.org/officeDocument/2006/relationships/tags" Target="../tags/tag413.xml"/><Relationship Id="rId62" Type="http://schemas.openxmlformats.org/officeDocument/2006/relationships/tags" Target="../tags/tag421.xml"/><Relationship Id="rId70" Type="http://schemas.openxmlformats.org/officeDocument/2006/relationships/tags" Target="../tags/tag429.xml"/><Relationship Id="rId75" Type="http://schemas.openxmlformats.org/officeDocument/2006/relationships/chart" Target="../charts/chart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365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442.xml"/><Relationship Id="rId18" Type="http://schemas.openxmlformats.org/officeDocument/2006/relationships/tags" Target="../tags/tag447.xml"/><Relationship Id="rId26" Type="http://schemas.openxmlformats.org/officeDocument/2006/relationships/tags" Target="../tags/tag455.xml"/><Relationship Id="rId39" Type="http://schemas.openxmlformats.org/officeDocument/2006/relationships/tags" Target="../tags/tag468.xml"/><Relationship Id="rId21" Type="http://schemas.openxmlformats.org/officeDocument/2006/relationships/tags" Target="../tags/tag450.xml"/><Relationship Id="rId34" Type="http://schemas.openxmlformats.org/officeDocument/2006/relationships/tags" Target="../tags/tag463.xml"/><Relationship Id="rId42" Type="http://schemas.openxmlformats.org/officeDocument/2006/relationships/tags" Target="../tags/tag471.xml"/><Relationship Id="rId47" Type="http://schemas.openxmlformats.org/officeDocument/2006/relationships/tags" Target="../tags/tag476.xml"/><Relationship Id="rId50" Type="http://schemas.openxmlformats.org/officeDocument/2006/relationships/tags" Target="../tags/tag479.xml"/><Relationship Id="rId55" Type="http://schemas.openxmlformats.org/officeDocument/2006/relationships/tags" Target="../tags/tag484.xml"/><Relationship Id="rId63" Type="http://schemas.openxmlformats.org/officeDocument/2006/relationships/tags" Target="../tags/tag492.xml"/><Relationship Id="rId68" Type="http://schemas.openxmlformats.org/officeDocument/2006/relationships/image" Target="../media/image6.emf"/><Relationship Id="rId7" Type="http://schemas.openxmlformats.org/officeDocument/2006/relationships/tags" Target="../tags/tag436.xml"/><Relationship Id="rId71" Type="http://schemas.openxmlformats.org/officeDocument/2006/relationships/image" Target="../media/image11.jpeg"/><Relationship Id="rId2" Type="http://schemas.openxmlformats.org/officeDocument/2006/relationships/tags" Target="../tags/tag431.xml"/><Relationship Id="rId16" Type="http://schemas.openxmlformats.org/officeDocument/2006/relationships/tags" Target="../tags/tag445.xml"/><Relationship Id="rId29" Type="http://schemas.openxmlformats.org/officeDocument/2006/relationships/tags" Target="../tags/tag458.xml"/><Relationship Id="rId11" Type="http://schemas.openxmlformats.org/officeDocument/2006/relationships/tags" Target="../tags/tag440.xml"/><Relationship Id="rId24" Type="http://schemas.openxmlformats.org/officeDocument/2006/relationships/tags" Target="../tags/tag453.xml"/><Relationship Id="rId32" Type="http://schemas.openxmlformats.org/officeDocument/2006/relationships/tags" Target="../tags/tag461.xml"/><Relationship Id="rId37" Type="http://schemas.openxmlformats.org/officeDocument/2006/relationships/tags" Target="../tags/tag466.xml"/><Relationship Id="rId40" Type="http://schemas.openxmlformats.org/officeDocument/2006/relationships/tags" Target="../tags/tag469.xml"/><Relationship Id="rId45" Type="http://schemas.openxmlformats.org/officeDocument/2006/relationships/tags" Target="../tags/tag474.xml"/><Relationship Id="rId53" Type="http://schemas.openxmlformats.org/officeDocument/2006/relationships/tags" Target="../tags/tag482.xml"/><Relationship Id="rId58" Type="http://schemas.openxmlformats.org/officeDocument/2006/relationships/tags" Target="../tags/tag487.xml"/><Relationship Id="rId66" Type="http://schemas.openxmlformats.org/officeDocument/2006/relationships/notesSlide" Target="../notesSlides/notesSlide6.xml"/><Relationship Id="rId74" Type="http://schemas.openxmlformats.org/officeDocument/2006/relationships/image" Target="../media/image14.png"/><Relationship Id="rId5" Type="http://schemas.openxmlformats.org/officeDocument/2006/relationships/tags" Target="../tags/tag434.xml"/><Relationship Id="rId15" Type="http://schemas.openxmlformats.org/officeDocument/2006/relationships/tags" Target="../tags/tag444.xml"/><Relationship Id="rId23" Type="http://schemas.openxmlformats.org/officeDocument/2006/relationships/tags" Target="../tags/tag452.xml"/><Relationship Id="rId28" Type="http://schemas.openxmlformats.org/officeDocument/2006/relationships/tags" Target="../tags/tag457.xml"/><Relationship Id="rId36" Type="http://schemas.openxmlformats.org/officeDocument/2006/relationships/tags" Target="../tags/tag465.xml"/><Relationship Id="rId49" Type="http://schemas.openxmlformats.org/officeDocument/2006/relationships/tags" Target="../tags/tag478.xml"/><Relationship Id="rId57" Type="http://schemas.openxmlformats.org/officeDocument/2006/relationships/tags" Target="../tags/tag486.xml"/><Relationship Id="rId61" Type="http://schemas.openxmlformats.org/officeDocument/2006/relationships/tags" Target="../tags/tag490.xml"/><Relationship Id="rId10" Type="http://schemas.openxmlformats.org/officeDocument/2006/relationships/tags" Target="../tags/tag439.xml"/><Relationship Id="rId19" Type="http://schemas.openxmlformats.org/officeDocument/2006/relationships/tags" Target="../tags/tag448.xml"/><Relationship Id="rId31" Type="http://schemas.openxmlformats.org/officeDocument/2006/relationships/tags" Target="../tags/tag460.xml"/><Relationship Id="rId44" Type="http://schemas.openxmlformats.org/officeDocument/2006/relationships/tags" Target="../tags/tag473.xml"/><Relationship Id="rId52" Type="http://schemas.openxmlformats.org/officeDocument/2006/relationships/tags" Target="../tags/tag481.xml"/><Relationship Id="rId60" Type="http://schemas.openxmlformats.org/officeDocument/2006/relationships/tags" Target="../tags/tag489.xml"/><Relationship Id="rId65" Type="http://schemas.openxmlformats.org/officeDocument/2006/relationships/slideLayout" Target="../slideLayouts/slideLayout2.xml"/><Relationship Id="rId73" Type="http://schemas.openxmlformats.org/officeDocument/2006/relationships/image" Target="../media/image13.png"/><Relationship Id="rId4" Type="http://schemas.openxmlformats.org/officeDocument/2006/relationships/tags" Target="../tags/tag433.xml"/><Relationship Id="rId9" Type="http://schemas.openxmlformats.org/officeDocument/2006/relationships/tags" Target="../tags/tag438.xml"/><Relationship Id="rId14" Type="http://schemas.openxmlformats.org/officeDocument/2006/relationships/tags" Target="../tags/tag443.xml"/><Relationship Id="rId22" Type="http://schemas.openxmlformats.org/officeDocument/2006/relationships/tags" Target="../tags/tag451.xml"/><Relationship Id="rId27" Type="http://schemas.openxmlformats.org/officeDocument/2006/relationships/tags" Target="../tags/tag456.xml"/><Relationship Id="rId30" Type="http://schemas.openxmlformats.org/officeDocument/2006/relationships/tags" Target="../tags/tag459.xml"/><Relationship Id="rId35" Type="http://schemas.openxmlformats.org/officeDocument/2006/relationships/tags" Target="../tags/tag464.xml"/><Relationship Id="rId43" Type="http://schemas.openxmlformats.org/officeDocument/2006/relationships/tags" Target="../tags/tag472.xml"/><Relationship Id="rId48" Type="http://schemas.openxmlformats.org/officeDocument/2006/relationships/tags" Target="../tags/tag477.xml"/><Relationship Id="rId56" Type="http://schemas.openxmlformats.org/officeDocument/2006/relationships/tags" Target="../tags/tag485.xml"/><Relationship Id="rId64" Type="http://schemas.openxmlformats.org/officeDocument/2006/relationships/tags" Target="../tags/tag493.xml"/><Relationship Id="rId69" Type="http://schemas.openxmlformats.org/officeDocument/2006/relationships/image" Target="../media/image10.jpeg"/><Relationship Id="rId8" Type="http://schemas.openxmlformats.org/officeDocument/2006/relationships/tags" Target="../tags/tag437.xml"/><Relationship Id="rId51" Type="http://schemas.openxmlformats.org/officeDocument/2006/relationships/tags" Target="../tags/tag480.xml"/><Relationship Id="rId72" Type="http://schemas.openxmlformats.org/officeDocument/2006/relationships/image" Target="../media/image12.png"/><Relationship Id="rId3" Type="http://schemas.openxmlformats.org/officeDocument/2006/relationships/tags" Target="../tags/tag432.xml"/><Relationship Id="rId12" Type="http://schemas.openxmlformats.org/officeDocument/2006/relationships/tags" Target="../tags/tag441.xml"/><Relationship Id="rId17" Type="http://schemas.openxmlformats.org/officeDocument/2006/relationships/tags" Target="../tags/tag446.xml"/><Relationship Id="rId25" Type="http://schemas.openxmlformats.org/officeDocument/2006/relationships/tags" Target="../tags/tag454.xml"/><Relationship Id="rId33" Type="http://schemas.openxmlformats.org/officeDocument/2006/relationships/tags" Target="../tags/tag462.xml"/><Relationship Id="rId38" Type="http://schemas.openxmlformats.org/officeDocument/2006/relationships/tags" Target="../tags/tag467.xml"/><Relationship Id="rId46" Type="http://schemas.openxmlformats.org/officeDocument/2006/relationships/tags" Target="../tags/tag475.xml"/><Relationship Id="rId59" Type="http://schemas.openxmlformats.org/officeDocument/2006/relationships/tags" Target="../tags/tag488.xml"/><Relationship Id="rId67" Type="http://schemas.openxmlformats.org/officeDocument/2006/relationships/oleObject" Target="../embeddings/oleObject18.bin"/><Relationship Id="rId20" Type="http://schemas.openxmlformats.org/officeDocument/2006/relationships/tags" Target="../tags/tag449.xml"/><Relationship Id="rId41" Type="http://schemas.openxmlformats.org/officeDocument/2006/relationships/tags" Target="../tags/tag470.xml"/><Relationship Id="rId54" Type="http://schemas.openxmlformats.org/officeDocument/2006/relationships/tags" Target="../tags/tag483.xml"/><Relationship Id="rId62" Type="http://schemas.openxmlformats.org/officeDocument/2006/relationships/tags" Target="../tags/tag491.xml"/><Relationship Id="rId70" Type="http://schemas.openxmlformats.org/officeDocument/2006/relationships/chart" Target="../charts/chart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43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13" Type="http://schemas.openxmlformats.org/officeDocument/2006/relationships/tags" Target="../tags/tag505.xml"/><Relationship Id="rId18" Type="http://schemas.openxmlformats.org/officeDocument/2006/relationships/tags" Target="../tags/tag510.xml"/><Relationship Id="rId26" Type="http://schemas.openxmlformats.org/officeDocument/2006/relationships/tags" Target="../tags/tag518.xml"/><Relationship Id="rId3" Type="http://schemas.openxmlformats.org/officeDocument/2006/relationships/tags" Target="../tags/tag495.xml"/><Relationship Id="rId21" Type="http://schemas.openxmlformats.org/officeDocument/2006/relationships/tags" Target="../tags/tag513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499.xml"/><Relationship Id="rId12" Type="http://schemas.openxmlformats.org/officeDocument/2006/relationships/tags" Target="../tags/tag504.xml"/><Relationship Id="rId17" Type="http://schemas.openxmlformats.org/officeDocument/2006/relationships/tags" Target="../tags/tag509.xml"/><Relationship Id="rId25" Type="http://schemas.openxmlformats.org/officeDocument/2006/relationships/tags" Target="../tags/tag517.xml"/><Relationship Id="rId33" Type="http://schemas.openxmlformats.org/officeDocument/2006/relationships/tags" Target="../tags/tag525.xml"/><Relationship Id="rId2" Type="http://schemas.openxmlformats.org/officeDocument/2006/relationships/tags" Target="../tags/tag494.xml"/><Relationship Id="rId16" Type="http://schemas.openxmlformats.org/officeDocument/2006/relationships/tags" Target="../tags/tag508.xml"/><Relationship Id="rId20" Type="http://schemas.openxmlformats.org/officeDocument/2006/relationships/tags" Target="../tags/tag512.xml"/><Relationship Id="rId29" Type="http://schemas.openxmlformats.org/officeDocument/2006/relationships/tags" Target="../tags/tag52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98.xml"/><Relationship Id="rId11" Type="http://schemas.openxmlformats.org/officeDocument/2006/relationships/tags" Target="../tags/tag503.xml"/><Relationship Id="rId24" Type="http://schemas.openxmlformats.org/officeDocument/2006/relationships/tags" Target="../tags/tag516.xml"/><Relationship Id="rId32" Type="http://schemas.openxmlformats.org/officeDocument/2006/relationships/tags" Target="../tags/tag524.xml"/><Relationship Id="rId37" Type="http://schemas.openxmlformats.org/officeDocument/2006/relationships/chart" Target="../charts/chart8.xml"/><Relationship Id="rId5" Type="http://schemas.openxmlformats.org/officeDocument/2006/relationships/tags" Target="../tags/tag497.xml"/><Relationship Id="rId15" Type="http://schemas.openxmlformats.org/officeDocument/2006/relationships/tags" Target="../tags/tag507.xml"/><Relationship Id="rId23" Type="http://schemas.openxmlformats.org/officeDocument/2006/relationships/tags" Target="../tags/tag515.xml"/><Relationship Id="rId28" Type="http://schemas.openxmlformats.org/officeDocument/2006/relationships/tags" Target="../tags/tag520.xml"/><Relationship Id="rId36" Type="http://schemas.openxmlformats.org/officeDocument/2006/relationships/image" Target="../media/image6.emf"/><Relationship Id="rId10" Type="http://schemas.openxmlformats.org/officeDocument/2006/relationships/tags" Target="../tags/tag502.xml"/><Relationship Id="rId19" Type="http://schemas.openxmlformats.org/officeDocument/2006/relationships/tags" Target="../tags/tag511.xml"/><Relationship Id="rId31" Type="http://schemas.openxmlformats.org/officeDocument/2006/relationships/tags" Target="../tags/tag523.xml"/><Relationship Id="rId4" Type="http://schemas.openxmlformats.org/officeDocument/2006/relationships/tags" Target="../tags/tag496.xml"/><Relationship Id="rId9" Type="http://schemas.openxmlformats.org/officeDocument/2006/relationships/tags" Target="../tags/tag501.xml"/><Relationship Id="rId14" Type="http://schemas.openxmlformats.org/officeDocument/2006/relationships/tags" Target="../tags/tag506.xml"/><Relationship Id="rId22" Type="http://schemas.openxmlformats.org/officeDocument/2006/relationships/tags" Target="../tags/tag514.xml"/><Relationship Id="rId27" Type="http://schemas.openxmlformats.org/officeDocument/2006/relationships/tags" Target="../tags/tag519.xml"/><Relationship Id="rId30" Type="http://schemas.openxmlformats.org/officeDocument/2006/relationships/tags" Target="../tags/tag522.xml"/><Relationship Id="rId35" Type="http://schemas.openxmlformats.org/officeDocument/2006/relationships/oleObject" Target="../embeddings/oleObject19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32.xml"/><Relationship Id="rId13" Type="http://schemas.openxmlformats.org/officeDocument/2006/relationships/tags" Target="../tags/tag537.xml"/><Relationship Id="rId18" Type="http://schemas.openxmlformats.org/officeDocument/2006/relationships/tags" Target="../tags/tag542.xml"/><Relationship Id="rId26" Type="http://schemas.openxmlformats.org/officeDocument/2006/relationships/tags" Target="../tags/tag550.xml"/><Relationship Id="rId3" Type="http://schemas.openxmlformats.org/officeDocument/2006/relationships/tags" Target="../tags/tag527.xml"/><Relationship Id="rId21" Type="http://schemas.openxmlformats.org/officeDocument/2006/relationships/tags" Target="../tags/tag545.xml"/><Relationship Id="rId34" Type="http://schemas.openxmlformats.org/officeDocument/2006/relationships/oleObject" Target="../embeddings/oleObject20.bin"/><Relationship Id="rId7" Type="http://schemas.openxmlformats.org/officeDocument/2006/relationships/tags" Target="../tags/tag531.xml"/><Relationship Id="rId12" Type="http://schemas.openxmlformats.org/officeDocument/2006/relationships/tags" Target="../tags/tag536.xml"/><Relationship Id="rId17" Type="http://schemas.openxmlformats.org/officeDocument/2006/relationships/tags" Target="../tags/tag541.xml"/><Relationship Id="rId25" Type="http://schemas.openxmlformats.org/officeDocument/2006/relationships/tags" Target="../tags/tag549.xml"/><Relationship Id="rId33" Type="http://schemas.openxmlformats.org/officeDocument/2006/relationships/notesSlide" Target="../notesSlides/notesSlide7.xml"/><Relationship Id="rId2" Type="http://schemas.openxmlformats.org/officeDocument/2006/relationships/tags" Target="../tags/tag526.xml"/><Relationship Id="rId16" Type="http://schemas.openxmlformats.org/officeDocument/2006/relationships/tags" Target="../tags/tag540.xml"/><Relationship Id="rId20" Type="http://schemas.openxmlformats.org/officeDocument/2006/relationships/tags" Target="../tags/tag544.xml"/><Relationship Id="rId29" Type="http://schemas.openxmlformats.org/officeDocument/2006/relationships/tags" Target="../tags/tag55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530.xml"/><Relationship Id="rId11" Type="http://schemas.openxmlformats.org/officeDocument/2006/relationships/tags" Target="../tags/tag535.xml"/><Relationship Id="rId24" Type="http://schemas.openxmlformats.org/officeDocument/2006/relationships/tags" Target="../tags/tag548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529.xml"/><Relationship Id="rId15" Type="http://schemas.openxmlformats.org/officeDocument/2006/relationships/tags" Target="../tags/tag539.xml"/><Relationship Id="rId23" Type="http://schemas.openxmlformats.org/officeDocument/2006/relationships/tags" Target="../tags/tag547.xml"/><Relationship Id="rId28" Type="http://schemas.openxmlformats.org/officeDocument/2006/relationships/tags" Target="../tags/tag552.xml"/><Relationship Id="rId36" Type="http://schemas.openxmlformats.org/officeDocument/2006/relationships/chart" Target="../charts/chart9.xml"/><Relationship Id="rId10" Type="http://schemas.openxmlformats.org/officeDocument/2006/relationships/tags" Target="../tags/tag534.xml"/><Relationship Id="rId19" Type="http://schemas.openxmlformats.org/officeDocument/2006/relationships/tags" Target="../tags/tag543.xml"/><Relationship Id="rId31" Type="http://schemas.openxmlformats.org/officeDocument/2006/relationships/tags" Target="../tags/tag555.xml"/><Relationship Id="rId4" Type="http://schemas.openxmlformats.org/officeDocument/2006/relationships/tags" Target="../tags/tag528.xml"/><Relationship Id="rId9" Type="http://schemas.openxmlformats.org/officeDocument/2006/relationships/tags" Target="../tags/tag533.xml"/><Relationship Id="rId14" Type="http://schemas.openxmlformats.org/officeDocument/2006/relationships/tags" Target="../tags/tag538.xml"/><Relationship Id="rId22" Type="http://schemas.openxmlformats.org/officeDocument/2006/relationships/tags" Target="../tags/tag546.xml"/><Relationship Id="rId27" Type="http://schemas.openxmlformats.org/officeDocument/2006/relationships/tags" Target="../tags/tag551.xml"/><Relationship Id="rId30" Type="http://schemas.openxmlformats.org/officeDocument/2006/relationships/tags" Target="../tags/tag554.xml"/><Relationship Id="rId35" Type="http://schemas.openxmlformats.org/officeDocument/2006/relationships/image" Target="../media/image6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562.xml"/><Relationship Id="rId13" Type="http://schemas.openxmlformats.org/officeDocument/2006/relationships/tags" Target="../tags/tag567.xml"/><Relationship Id="rId18" Type="http://schemas.openxmlformats.org/officeDocument/2006/relationships/tags" Target="../tags/tag572.xml"/><Relationship Id="rId26" Type="http://schemas.openxmlformats.org/officeDocument/2006/relationships/tags" Target="../tags/tag580.xml"/><Relationship Id="rId39" Type="http://schemas.openxmlformats.org/officeDocument/2006/relationships/oleObject" Target="../embeddings/oleObject21.bin"/><Relationship Id="rId3" Type="http://schemas.openxmlformats.org/officeDocument/2006/relationships/tags" Target="../tags/tag557.xml"/><Relationship Id="rId21" Type="http://schemas.openxmlformats.org/officeDocument/2006/relationships/tags" Target="../tags/tag575.xml"/><Relationship Id="rId34" Type="http://schemas.openxmlformats.org/officeDocument/2006/relationships/tags" Target="../tags/tag588.xml"/><Relationship Id="rId7" Type="http://schemas.openxmlformats.org/officeDocument/2006/relationships/tags" Target="../tags/tag561.xml"/><Relationship Id="rId12" Type="http://schemas.openxmlformats.org/officeDocument/2006/relationships/tags" Target="../tags/tag566.xml"/><Relationship Id="rId17" Type="http://schemas.openxmlformats.org/officeDocument/2006/relationships/tags" Target="../tags/tag571.xml"/><Relationship Id="rId25" Type="http://schemas.openxmlformats.org/officeDocument/2006/relationships/tags" Target="../tags/tag579.xml"/><Relationship Id="rId33" Type="http://schemas.openxmlformats.org/officeDocument/2006/relationships/tags" Target="../tags/tag587.xml"/><Relationship Id="rId38" Type="http://schemas.openxmlformats.org/officeDocument/2006/relationships/notesSlide" Target="../notesSlides/notesSlide8.xml"/><Relationship Id="rId2" Type="http://schemas.openxmlformats.org/officeDocument/2006/relationships/tags" Target="../tags/tag556.xml"/><Relationship Id="rId16" Type="http://schemas.openxmlformats.org/officeDocument/2006/relationships/tags" Target="../tags/tag570.xml"/><Relationship Id="rId20" Type="http://schemas.openxmlformats.org/officeDocument/2006/relationships/tags" Target="../tags/tag574.xml"/><Relationship Id="rId29" Type="http://schemas.openxmlformats.org/officeDocument/2006/relationships/tags" Target="../tags/tag583.xml"/><Relationship Id="rId41" Type="http://schemas.openxmlformats.org/officeDocument/2006/relationships/chart" Target="../charts/chart10.xml"/><Relationship Id="rId1" Type="http://schemas.openxmlformats.org/officeDocument/2006/relationships/vmlDrawing" Target="../drawings/vmlDrawing21.vml"/><Relationship Id="rId6" Type="http://schemas.openxmlformats.org/officeDocument/2006/relationships/tags" Target="../tags/tag560.xml"/><Relationship Id="rId11" Type="http://schemas.openxmlformats.org/officeDocument/2006/relationships/tags" Target="../tags/tag565.xml"/><Relationship Id="rId24" Type="http://schemas.openxmlformats.org/officeDocument/2006/relationships/tags" Target="../tags/tag578.xml"/><Relationship Id="rId32" Type="http://schemas.openxmlformats.org/officeDocument/2006/relationships/tags" Target="../tags/tag586.xml"/><Relationship Id="rId37" Type="http://schemas.openxmlformats.org/officeDocument/2006/relationships/slideLayout" Target="../slideLayouts/slideLayout2.xml"/><Relationship Id="rId40" Type="http://schemas.openxmlformats.org/officeDocument/2006/relationships/image" Target="../media/image4.emf"/><Relationship Id="rId5" Type="http://schemas.openxmlformats.org/officeDocument/2006/relationships/tags" Target="../tags/tag559.xml"/><Relationship Id="rId15" Type="http://schemas.openxmlformats.org/officeDocument/2006/relationships/tags" Target="../tags/tag569.xml"/><Relationship Id="rId23" Type="http://schemas.openxmlformats.org/officeDocument/2006/relationships/tags" Target="../tags/tag577.xml"/><Relationship Id="rId28" Type="http://schemas.openxmlformats.org/officeDocument/2006/relationships/tags" Target="../tags/tag582.xml"/><Relationship Id="rId36" Type="http://schemas.openxmlformats.org/officeDocument/2006/relationships/tags" Target="../tags/tag590.xml"/><Relationship Id="rId10" Type="http://schemas.openxmlformats.org/officeDocument/2006/relationships/tags" Target="../tags/tag564.xml"/><Relationship Id="rId19" Type="http://schemas.openxmlformats.org/officeDocument/2006/relationships/tags" Target="../tags/tag573.xml"/><Relationship Id="rId31" Type="http://schemas.openxmlformats.org/officeDocument/2006/relationships/tags" Target="../tags/tag585.xml"/><Relationship Id="rId4" Type="http://schemas.openxmlformats.org/officeDocument/2006/relationships/tags" Target="../tags/tag558.xml"/><Relationship Id="rId9" Type="http://schemas.openxmlformats.org/officeDocument/2006/relationships/tags" Target="../tags/tag563.xml"/><Relationship Id="rId14" Type="http://schemas.openxmlformats.org/officeDocument/2006/relationships/tags" Target="../tags/tag568.xml"/><Relationship Id="rId22" Type="http://schemas.openxmlformats.org/officeDocument/2006/relationships/tags" Target="../tags/tag576.xml"/><Relationship Id="rId27" Type="http://schemas.openxmlformats.org/officeDocument/2006/relationships/tags" Target="../tags/tag581.xml"/><Relationship Id="rId30" Type="http://schemas.openxmlformats.org/officeDocument/2006/relationships/tags" Target="../tags/tag584.xml"/><Relationship Id="rId35" Type="http://schemas.openxmlformats.org/officeDocument/2006/relationships/tags" Target="../tags/tag58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597.xml"/><Relationship Id="rId13" Type="http://schemas.openxmlformats.org/officeDocument/2006/relationships/tags" Target="../tags/tag602.xml"/><Relationship Id="rId18" Type="http://schemas.openxmlformats.org/officeDocument/2006/relationships/tags" Target="../tags/tag607.xml"/><Relationship Id="rId26" Type="http://schemas.openxmlformats.org/officeDocument/2006/relationships/tags" Target="../tags/tag615.xml"/><Relationship Id="rId39" Type="http://schemas.openxmlformats.org/officeDocument/2006/relationships/tags" Target="../tags/tag628.xml"/><Relationship Id="rId3" Type="http://schemas.openxmlformats.org/officeDocument/2006/relationships/tags" Target="../tags/tag592.xml"/><Relationship Id="rId21" Type="http://schemas.openxmlformats.org/officeDocument/2006/relationships/tags" Target="../tags/tag610.xml"/><Relationship Id="rId34" Type="http://schemas.openxmlformats.org/officeDocument/2006/relationships/tags" Target="../tags/tag623.xml"/><Relationship Id="rId42" Type="http://schemas.openxmlformats.org/officeDocument/2006/relationships/slideLayout" Target="../slideLayouts/slideLayout2.xml"/><Relationship Id="rId47" Type="http://schemas.openxmlformats.org/officeDocument/2006/relationships/comments" Target="../comments/comment1.xml"/><Relationship Id="rId7" Type="http://schemas.openxmlformats.org/officeDocument/2006/relationships/tags" Target="../tags/tag596.xml"/><Relationship Id="rId12" Type="http://schemas.openxmlformats.org/officeDocument/2006/relationships/tags" Target="../tags/tag601.xml"/><Relationship Id="rId17" Type="http://schemas.openxmlformats.org/officeDocument/2006/relationships/tags" Target="../tags/tag606.xml"/><Relationship Id="rId25" Type="http://schemas.openxmlformats.org/officeDocument/2006/relationships/tags" Target="../tags/tag614.xml"/><Relationship Id="rId33" Type="http://schemas.openxmlformats.org/officeDocument/2006/relationships/tags" Target="../tags/tag622.xml"/><Relationship Id="rId38" Type="http://schemas.openxmlformats.org/officeDocument/2006/relationships/tags" Target="../tags/tag627.xml"/><Relationship Id="rId46" Type="http://schemas.openxmlformats.org/officeDocument/2006/relationships/chart" Target="../charts/chart11.xml"/><Relationship Id="rId2" Type="http://schemas.openxmlformats.org/officeDocument/2006/relationships/tags" Target="../tags/tag591.xml"/><Relationship Id="rId16" Type="http://schemas.openxmlformats.org/officeDocument/2006/relationships/tags" Target="../tags/tag605.xml"/><Relationship Id="rId20" Type="http://schemas.openxmlformats.org/officeDocument/2006/relationships/tags" Target="../tags/tag609.xml"/><Relationship Id="rId29" Type="http://schemas.openxmlformats.org/officeDocument/2006/relationships/tags" Target="../tags/tag618.xml"/><Relationship Id="rId41" Type="http://schemas.openxmlformats.org/officeDocument/2006/relationships/tags" Target="../tags/tag63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595.xml"/><Relationship Id="rId11" Type="http://schemas.openxmlformats.org/officeDocument/2006/relationships/tags" Target="../tags/tag600.xml"/><Relationship Id="rId24" Type="http://schemas.openxmlformats.org/officeDocument/2006/relationships/tags" Target="../tags/tag613.xml"/><Relationship Id="rId32" Type="http://schemas.openxmlformats.org/officeDocument/2006/relationships/tags" Target="../tags/tag621.xml"/><Relationship Id="rId37" Type="http://schemas.openxmlformats.org/officeDocument/2006/relationships/tags" Target="../tags/tag626.xml"/><Relationship Id="rId40" Type="http://schemas.openxmlformats.org/officeDocument/2006/relationships/tags" Target="../tags/tag629.xml"/><Relationship Id="rId45" Type="http://schemas.openxmlformats.org/officeDocument/2006/relationships/image" Target="../media/image4.emf"/><Relationship Id="rId5" Type="http://schemas.openxmlformats.org/officeDocument/2006/relationships/tags" Target="../tags/tag594.xml"/><Relationship Id="rId15" Type="http://schemas.openxmlformats.org/officeDocument/2006/relationships/tags" Target="../tags/tag604.xml"/><Relationship Id="rId23" Type="http://schemas.openxmlformats.org/officeDocument/2006/relationships/tags" Target="../tags/tag612.xml"/><Relationship Id="rId28" Type="http://schemas.openxmlformats.org/officeDocument/2006/relationships/tags" Target="../tags/tag617.xml"/><Relationship Id="rId36" Type="http://schemas.openxmlformats.org/officeDocument/2006/relationships/tags" Target="../tags/tag625.xml"/><Relationship Id="rId10" Type="http://schemas.openxmlformats.org/officeDocument/2006/relationships/tags" Target="../tags/tag599.xml"/><Relationship Id="rId19" Type="http://schemas.openxmlformats.org/officeDocument/2006/relationships/tags" Target="../tags/tag608.xml"/><Relationship Id="rId31" Type="http://schemas.openxmlformats.org/officeDocument/2006/relationships/tags" Target="../tags/tag620.xml"/><Relationship Id="rId44" Type="http://schemas.openxmlformats.org/officeDocument/2006/relationships/oleObject" Target="../embeddings/oleObject22.bin"/><Relationship Id="rId4" Type="http://schemas.openxmlformats.org/officeDocument/2006/relationships/tags" Target="../tags/tag593.xml"/><Relationship Id="rId9" Type="http://schemas.openxmlformats.org/officeDocument/2006/relationships/tags" Target="../tags/tag598.xml"/><Relationship Id="rId14" Type="http://schemas.openxmlformats.org/officeDocument/2006/relationships/tags" Target="../tags/tag603.xml"/><Relationship Id="rId22" Type="http://schemas.openxmlformats.org/officeDocument/2006/relationships/tags" Target="../tags/tag611.xml"/><Relationship Id="rId27" Type="http://schemas.openxmlformats.org/officeDocument/2006/relationships/tags" Target="../tags/tag616.xml"/><Relationship Id="rId30" Type="http://schemas.openxmlformats.org/officeDocument/2006/relationships/tags" Target="../tags/tag619.xml"/><Relationship Id="rId35" Type="http://schemas.openxmlformats.org/officeDocument/2006/relationships/tags" Target="../tags/tag624.xml"/><Relationship Id="rId43" Type="http://schemas.openxmlformats.org/officeDocument/2006/relationships/notesSlide" Target="../notesSlides/notesSlide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632.xml"/><Relationship Id="rId7" Type="http://schemas.openxmlformats.org/officeDocument/2006/relationships/image" Target="../media/image6.emf"/><Relationship Id="rId2" Type="http://schemas.openxmlformats.org/officeDocument/2006/relationships/tags" Target="../tags/tag63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639.xml"/><Relationship Id="rId13" Type="http://schemas.openxmlformats.org/officeDocument/2006/relationships/tags" Target="../tags/tag644.xml"/><Relationship Id="rId18" Type="http://schemas.openxmlformats.org/officeDocument/2006/relationships/tags" Target="../tags/tag649.xml"/><Relationship Id="rId26" Type="http://schemas.openxmlformats.org/officeDocument/2006/relationships/tags" Target="../tags/tag657.xml"/><Relationship Id="rId3" Type="http://schemas.openxmlformats.org/officeDocument/2006/relationships/tags" Target="../tags/tag634.xml"/><Relationship Id="rId21" Type="http://schemas.openxmlformats.org/officeDocument/2006/relationships/tags" Target="../tags/tag652.xml"/><Relationship Id="rId34" Type="http://schemas.openxmlformats.org/officeDocument/2006/relationships/image" Target="../media/image6.emf"/><Relationship Id="rId7" Type="http://schemas.openxmlformats.org/officeDocument/2006/relationships/tags" Target="../tags/tag638.xml"/><Relationship Id="rId12" Type="http://schemas.openxmlformats.org/officeDocument/2006/relationships/tags" Target="../tags/tag643.xml"/><Relationship Id="rId17" Type="http://schemas.openxmlformats.org/officeDocument/2006/relationships/tags" Target="../tags/tag648.xml"/><Relationship Id="rId25" Type="http://schemas.openxmlformats.org/officeDocument/2006/relationships/tags" Target="../tags/tag656.xml"/><Relationship Id="rId33" Type="http://schemas.openxmlformats.org/officeDocument/2006/relationships/oleObject" Target="../embeddings/oleObject24.bin"/><Relationship Id="rId2" Type="http://schemas.openxmlformats.org/officeDocument/2006/relationships/tags" Target="../tags/tag633.xml"/><Relationship Id="rId16" Type="http://schemas.openxmlformats.org/officeDocument/2006/relationships/tags" Target="../tags/tag647.xml"/><Relationship Id="rId20" Type="http://schemas.openxmlformats.org/officeDocument/2006/relationships/tags" Target="../tags/tag651.xml"/><Relationship Id="rId29" Type="http://schemas.openxmlformats.org/officeDocument/2006/relationships/tags" Target="../tags/tag660.xml"/><Relationship Id="rId1" Type="http://schemas.openxmlformats.org/officeDocument/2006/relationships/vmlDrawing" Target="../drawings/vmlDrawing24.vml"/><Relationship Id="rId6" Type="http://schemas.openxmlformats.org/officeDocument/2006/relationships/tags" Target="../tags/tag637.xml"/><Relationship Id="rId11" Type="http://schemas.openxmlformats.org/officeDocument/2006/relationships/tags" Target="../tags/tag642.xml"/><Relationship Id="rId24" Type="http://schemas.openxmlformats.org/officeDocument/2006/relationships/tags" Target="../tags/tag655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636.xml"/><Relationship Id="rId15" Type="http://schemas.openxmlformats.org/officeDocument/2006/relationships/tags" Target="../tags/tag646.xml"/><Relationship Id="rId23" Type="http://schemas.openxmlformats.org/officeDocument/2006/relationships/tags" Target="../tags/tag654.xml"/><Relationship Id="rId28" Type="http://schemas.openxmlformats.org/officeDocument/2006/relationships/tags" Target="../tags/tag659.xml"/><Relationship Id="rId10" Type="http://schemas.openxmlformats.org/officeDocument/2006/relationships/tags" Target="../tags/tag641.xml"/><Relationship Id="rId19" Type="http://schemas.openxmlformats.org/officeDocument/2006/relationships/tags" Target="../tags/tag650.xml"/><Relationship Id="rId31" Type="http://schemas.openxmlformats.org/officeDocument/2006/relationships/tags" Target="../tags/tag662.xml"/><Relationship Id="rId4" Type="http://schemas.openxmlformats.org/officeDocument/2006/relationships/tags" Target="../tags/tag635.xml"/><Relationship Id="rId9" Type="http://schemas.openxmlformats.org/officeDocument/2006/relationships/tags" Target="../tags/tag640.xml"/><Relationship Id="rId14" Type="http://schemas.openxmlformats.org/officeDocument/2006/relationships/tags" Target="../tags/tag645.xml"/><Relationship Id="rId22" Type="http://schemas.openxmlformats.org/officeDocument/2006/relationships/tags" Target="../tags/tag653.xml"/><Relationship Id="rId27" Type="http://schemas.openxmlformats.org/officeDocument/2006/relationships/tags" Target="../tags/tag658.xml"/><Relationship Id="rId30" Type="http://schemas.openxmlformats.org/officeDocument/2006/relationships/tags" Target="../tags/tag661.xml"/><Relationship Id="rId35" Type="http://schemas.openxmlformats.org/officeDocument/2006/relationships/chart" Target="../charts/char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669.xml"/><Relationship Id="rId13" Type="http://schemas.openxmlformats.org/officeDocument/2006/relationships/tags" Target="../tags/tag674.xml"/><Relationship Id="rId18" Type="http://schemas.openxmlformats.org/officeDocument/2006/relationships/tags" Target="../tags/tag679.xml"/><Relationship Id="rId26" Type="http://schemas.openxmlformats.org/officeDocument/2006/relationships/tags" Target="../tags/tag687.xml"/><Relationship Id="rId39" Type="http://schemas.openxmlformats.org/officeDocument/2006/relationships/oleObject" Target="../embeddings/oleObject25.bin"/><Relationship Id="rId3" Type="http://schemas.openxmlformats.org/officeDocument/2006/relationships/tags" Target="../tags/tag664.xml"/><Relationship Id="rId21" Type="http://schemas.openxmlformats.org/officeDocument/2006/relationships/tags" Target="../tags/tag682.xml"/><Relationship Id="rId34" Type="http://schemas.openxmlformats.org/officeDocument/2006/relationships/tags" Target="../tags/tag695.xml"/><Relationship Id="rId7" Type="http://schemas.openxmlformats.org/officeDocument/2006/relationships/tags" Target="../tags/tag668.xml"/><Relationship Id="rId12" Type="http://schemas.openxmlformats.org/officeDocument/2006/relationships/tags" Target="../tags/tag673.xml"/><Relationship Id="rId17" Type="http://schemas.openxmlformats.org/officeDocument/2006/relationships/tags" Target="../tags/tag678.xml"/><Relationship Id="rId25" Type="http://schemas.openxmlformats.org/officeDocument/2006/relationships/tags" Target="../tags/tag686.xml"/><Relationship Id="rId33" Type="http://schemas.openxmlformats.org/officeDocument/2006/relationships/tags" Target="../tags/tag694.xml"/><Relationship Id="rId38" Type="http://schemas.openxmlformats.org/officeDocument/2006/relationships/notesSlide" Target="../notesSlides/notesSlide11.xml"/><Relationship Id="rId2" Type="http://schemas.openxmlformats.org/officeDocument/2006/relationships/tags" Target="../tags/tag663.xml"/><Relationship Id="rId16" Type="http://schemas.openxmlformats.org/officeDocument/2006/relationships/tags" Target="../tags/tag677.xml"/><Relationship Id="rId20" Type="http://schemas.openxmlformats.org/officeDocument/2006/relationships/tags" Target="../tags/tag681.xml"/><Relationship Id="rId29" Type="http://schemas.openxmlformats.org/officeDocument/2006/relationships/tags" Target="../tags/tag690.xml"/><Relationship Id="rId41" Type="http://schemas.openxmlformats.org/officeDocument/2006/relationships/chart" Target="../charts/chart1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667.xml"/><Relationship Id="rId11" Type="http://schemas.openxmlformats.org/officeDocument/2006/relationships/tags" Target="../tags/tag672.xml"/><Relationship Id="rId24" Type="http://schemas.openxmlformats.org/officeDocument/2006/relationships/tags" Target="../tags/tag685.xml"/><Relationship Id="rId32" Type="http://schemas.openxmlformats.org/officeDocument/2006/relationships/tags" Target="../tags/tag693.xml"/><Relationship Id="rId37" Type="http://schemas.openxmlformats.org/officeDocument/2006/relationships/slideLayout" Target="../slideLayouts/slideLayout2.xml"/><Relationship Id="rId40" Type="http://schemas.openxmlformats.org/officeDocument/2006/relationships/image" Target="../media/image4.emf"/><Relationship Id="rId5" Type="http://schemas.openxmlformats.org/officeDocument/2006/relationships/tags" Target="../tags/tag666.xml"/><Relationship Id="rId15" Type="http://schemas.openxmlformats.org/officeDocument/2006/relationships/tags" Target="../tags/tag676.xml"/><Relationship Id="rId23" Type="http://schemas.openxmlformats.org/officeDocument/2006/relationships/tags" Target="../tags/tag684.xml"/><Relationship Id="rId28" Type="http://schemas.openxmlformats.org/officeDocument/2006/relationships/tags" Target="../tags/tag689.xml"/><Relationship Id="rId36" Type="http://schemas.openxmlformats.org/officeDocument/2006/relationships/tags" Target="../tags/tag697.xml"/><Relationship Id="rId10" Type="http://schemas.openxmlformats.org/officeDocument/2006/relationships/tags" Target="../tags/tag671.xml"/><Relationship Id="rId19" Type="http://schemas.openxmlformats.org/officeDocument/2006/relationships/tags" Target="../tags/tag680.xml"/><Relationship Id="rId31" Type="http://schemas.openxmlformats.org/officeDocument/2006/relationships/tags" Target="../tags/tag692.xml"/><Relationship Id="rId4" Type="http://schemas.openxmlformats.org/officeDocument/2006/relationships/tags" Target="../tags/tag665.xml"/><Relationship Id="rId9" Type="http://schemas.openxmlformats.org/officeDocument/2006/relationships/tags" Target="../tags/tag670.xml"/><Relationship Id="rId14" Type="http://schemas.openxmlformats.org/officeDocument/2006/relationships/tags" Target="../tags/tag675.xml"/><Relationship Id="rId22" Type="http://schemas.openxmlformats.org/officeDocument/2006/relationships/tags" Target="../tags/tag683.xml"/><Relationship Id="rId27" Type="http://schemas.openxmlformats.org/officeDocument/2006/relationships/tags" Target="../tags/tag688.xml"/><Relationship Id="rId30" Type="http://schemas.openxmlformats.org/officeDocument/2006/relationships/tags" Target="../tags/tag691.xml"/><Relationship Id="rId35" Type="http://schemas.openxmlformats.org/officeDocument/2006/relationships/tags" Target="../tags/tag69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704.xml"/><Relationship Id="rId13" Type="http://schemas.openxmlformats.org/officeDocument/2006/relationships/tags" Target="../tags/tag709.xml"/><Relationship Id="rId18" Type="http://schemas.openxmlformats.org/officeDocument/2006/relationships/tags" Target="../tags/tag714.xml"/><Relationship Id="rId26" Type="http://schemas.openxmlformats.org/officeDocument/2006/relationships/tags" Target="../tags/tag722.xml"/><Relationship Id="rId39" Type="http://schemas.openxmlformats.org/officeDocument/2006/relationships/tags" Target="../tags/tag735.xml"/><Relationship Id="rId3" Type="http://schemas.openxmlformats.org/officeDocument/2006/relationships/tags" Target="../tags/tag699.xml"/><Relationship Id="rId21" Type="http://schemas.openxmlformats.org/officeDocument/2006/relationships/tags" Target="../tags/tag717.xml"/><Relationship Id="rId34" Type="http://schemas.openxmlformats.org/officeDocument/2006/relationships/tags" Target="../tags/tag730.xml"/><Relationship Id="rId42" Type="http://schemas.openxmlformats.org/officeDocument/2006/relationships/slideLayout" Target="../slideLayouts/slideLayout2.xml"/><Relationship Id="rId7" Type="http://schemas.openxmlformats.org/officeDocument/2006/relationships/tags" Target="../tags/tag703.xml"/><Relationship Id="rId12" Type="http://schemas.openxmlformats.org/officeDocument/2006/relationships/tags" Target="../tags/tag708.xml"/><Relationship Id="rId17" Type="http://schemas.openxmlformats.org/officeDocument/2006/relationships/tags" Target="../tags/tag713.xml"/><Relationship Id="rId25" Type="http://schemas.openxmlformats.org/officeDocument/2006/relationships/tags" Target="../tags/tag721.xml"/><Relationship Id="rId33" Type="http://schemas.openxmlformats.org/officeDocument/2006/relationships/tags" Target="../tags/tag729.xml"/><Relationship Id="rId38" Type="http://schemas.openxmlformats.org/officeDocument/2006/relationships/tags" Target="../tags/tag734.xml"/><Relationship Id="rId46" Type="http://schemas.openxmlformats.org/officeDocument/2006/relationships/chart" Target="../charts/chart15.xml"/><Relationship Id="rId2" Type="http://schemas.openxmlformats.org/officeDocument/2006/relationships/tags" Target="../tags/tag698.xml"/><Relationship Id="rId16" Type="http://schemas.openxmlformats.org/officeDocument/2006/relationships/tags" Target="../tags/tag712.xml"/><Relationship Id="rId20" Type="http://schemas.openxmlformats.org/officeDocument/2006/relationships/tags" Target="../tags/tag716.xml"/><Relationship Id="rId29" Type="http://schemas.openxmlformats.org/officeDocument/2006/relationships/tags" Target="../tags/tag725.xml"/><Relationship Id="rId41" Type="http://schemas.openxmlformats.org/officeDocument/2006/relationships/tags" Target="../tags/tag737.xml"/><Relationship Id="rId1" Type="http://schemas.openxmlformats.org/officeDocument/2006/relationships/vmlDrawing" Target="../drawings/vmlDrawing26.vml"/><Relationship Id="rId6" Type="http://schemas.openxmlformats.org/officeDocument/2006/relationships/tags" Target="../tags/tag702.xml"/><Relationship Id="rId11" Type="http://schemas.openxmlformats.org/officeDocument/2006/relationships/tags" Target="../tags/tag707.xml"/><Relationship Id="rId24" Type="http://schemas.openxmlformats.org/officeDocument/2006/relationships/tags" Target="../tags/tag720.xml"/><Relationship Id="rId32" Type="http://schemas.openxmlformats.org/officeDocument/2006/relationships/tags" Target="../tags/tag728.xml"/><Relationship Id="rId37" Type="http://schemas.openxmlformats.org/officeDocument/2006/relationships/tags" Target="../tags/tag733.xml"/><Relationship Id="rId40" Type="http://schemas.openxmlformats.org/officeDocument/2006/relationships/tags" Target="../tags/tag736.xml"/><Relationship Id="rId45" Type="http://schemas.openxmlformats.org/officeDocument/2006/relationships/image" Target="../media/image4.emf"/><Relationship Id="rId5" Type="http://schemas.openxmlformats.org/officeDocument/2006/relationships/tags" Target="../tags/tag701.xml"/><Relationship Id="rId15" Type="http://schemas.openxmlformats.org/officeDocument/2006/relationships/tags" Target="../tags/tag711.xml"/><Relationship Id="rId23" Type="http://schemas.openxmlformats.org/officeDocument/2006/relationships/tags" Target="../tags/tag719.xml"/><Relationship Id="rId28" Type="http://schemas.openxmlformats.org/officeDocument/2006/relationships/tags" Target="../tags/tag724.xml"/><Relationship Id="rId36" Type="http://schemas.openxmlformats.org/officeDocument/2006/relationships/tags" Target="../tags/tag732.xml"/><Relationship Id="rId10" Type="http://schemas.openxmlformats.org/officeDocument/2006/relationships/tags" Target="../tags/tag706.xml"/><Relationship Id="rId19" Type="http://schemas.openxmlformats.org/officeDocument/2006/relationships/tags" Target="../tags/tag715.xml"/><Relationship Id="rId31" Type="http://schemas.openxmlformats.org/officeDocument/2006/relationships/tags" Target="../tags/tag727.xml"/><Relationship Id="rId44" Type="http://schemas.openxmlformats.org/officeDocument/2006/relationships/oleObject" Target="../embeddings/oleObject26.bin"/><Relationship Id="rId4" Type="http://schemas.openxmlformats.org/officeDocument/2006/relationships/tags" Target="../tags/tag700.xml"/><Relationship Id="rId9" Type="http://schemas.openxmlformats.org/officeDocument/2006/relationships/tags" Target="../tags/tag705.xml"/><Relationship Id="rId14" Type="http://schemas.openxmlformats.org/officeDocument/2006/relationships/tags" Target="../tags/tag710.xml"/><Relationship Id="rId22" Type="http://schemas.openxmlformats.org/officeDocument/2006/relationships/tags" Target="../tags/tag718.xml"/><Relationship Id="rId27" Type="http://schemas.openxmlformats.org/officeDocument/2006/relationships/tags" Target="../tags/tag723.xml"/><Relationship Id="rId30" Type="http://schemas.openxmlformats.org/officeDocument/2006/relationships/tags" Target="../tags/tag726.xml"/><Relationship Id="rId35" Type="http://schemas.openxmlformats.org/officeDocument/2006/relationships/tags" Target="../tags/tag731.xml"/><Relationship Id="rId43" Type="http://schemas.openxmlformats.org/officeDocument/2006/relationships/notesSlide" Target="../notesSlides/notesSlide1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739.xml"/><Relationship Id="rId7" Type="http://schemas.openxmlformats.org/officeDocument/2006/relationships/image" Target="../media/image6.emf"/><Relationship Id="rId2" Type="http://schemas.openxmlformats.org/officeDocument/2006/relationships/tags" Target="../tags/tag73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746.xml"/><Relationship Id="rId13" Type="http://schemas.openxmlformats.org/officeDocument/2006/relationships/tags" Target="../tags/tag751.xml"/><Relationship Id="rId18" Type="http://schemas.openxmlformats.org/officeDocument/2006/relationships/tags" Target="../tags/tag756.xml"/><Relationship Id="rId26" Type="http://schemas.openxmlformats.org/officeDocument/2006/relationships/tags" Target="../tags/tag764.xml"/><Relationship Id="rId3" Type="http://schemas.openxmlformats.org/officeDocument/2006/relationships/tags" Target="../tags/tag741.xml"/><Relationship Id="rId21" Type="http://schemas.openxmlformats.org/officeDocument/2006/relationships/tags" Target="../tags/tag759.xml"/><Relationship Id="rId34" Type="http://schemas.openxmlformats.org/officeDocument/2006/relationships/tags" Target="../tags/tag772.xml"/><Relationship Id="rId7" Type="http://schemas.openxmlformats.org/officeDocument/2006/relationships/tags" Target="../tags/tag745.xml"/><Relationship Id="rId12" Type="http://schemas.openxmlformats.org/officeDocument/2006/relationships/tags" Target="../tags/tag750.xml"/><Relationship Id="rId17" Type="http://schemas.openxmlformats.org/officeDocument/2006/relationships/tags" Target="../tags/tag755.xml"/><Relationship Id="rId25" Type="http://schemas.openxmlformats.org/officeDocument/2006/relationships/tags" Target="../tags/tag763.xml"/><Relationship Id="rId33" Type="http://schemas.openxmlformats.org/officeDocument/2006/relationships/tags" Target="../tags/tag771.xml"/><Relationship Id="rId38" Type="http://schemas.openxmlformats.org/officeDocument/2006/relationships/chart" Target="../charts/chart17.xml"/><Relationship Id="rId2" Type="http://schemas.openxmlformats.org/officeDocument/2006/relationships/tags" Target="../tags/tag740.xml"/><Relationship Id="rId16" Type="http://schemas.openxmlformats.org/officeDocument/2006/relationships/tags" Target="../tags/tag754.xml"/><Relationship Id="rId20" Type="http://schemas.openxmlformats.org/officeDocument/2006/relationships/tags" Target="../tags/tag758.xml"/><Relationship Id="rId29" Type="http://schemas.openxmlformats.org/officeDocument/2006/relationships/tags" Target="../tags/tag76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744.xml"/><Relationship Id="rId11" Type="http://schemas.openxmlformats.org/officeDocument/2006/relationships/tags" Target="../tags/tag749.xml"/><Relationship Id="rId24" Type="http://schemas.openxmlformats.org/officeDocument/2006/relationships/tags" Target="../tags/tag762.xml"/><Relationship Id="rId32" Type="http://schemas.openxmlformats.org/officeDocument/2006/relationships/tags" Target="../tags/tag770.xml"/><Relationship Id="rId37" Type="http://schemas.openxmlformats.org/officeDocument/2006/relationships/image" Target="../media/image6.emf"/><Relationship Id="rId5" Type="http://schemas.openxmlformats.org/officeDocument/2006/relationships/tags" Target="../tags/tag743.xml"/><Relationship Id="rId15" Type="http://schemas.openxmlformats.org/officeDocument/2006/relationships/tags" Target="../tags/tag753.xml"/><Relationship Id="rId23" Type="http://schemas.openxmlformats.org/officeDocument/2006/relationships/tags" Target="../tags/tag761.xml"/><Relationship Id="rId28" Type="http://schemas.openxmlformats.org/officeDocument/2006/relationships/tags" Target="../tags/tag766.xml"/><Relationship Id="rId36" Type="http://schemas.openxmlformats.org/officeDocument/2006/relationships/oleObject" Target="../embeddings/oleObject28.bin"/><Relationship Id="rId10" Type="http://schemas.openxmlformats.org/officeDocument/2006/relationships/tags" Target="../tags/tag748.xml"/><Relationship Id="rId19" Type="http://schemas.openxmlformats.org/officeDocument/2006/relationships/tags" Target="../tags/tag757.xml"/><Relationship Id="rId31" Type="http://schemas.openxmlformats.org/officeDocument/2006/relationships/tags" Target="../tags/tag769.xml"/><Relationship Id="rId4" Type="http://schemas.openxmlformats.org/officeDocument/2006/relationships/tags" Target="../tags/tag742.xml"/><Relationship Id="rId9" Type="http://schemas.openxmlformats.org/officeDocument/2006/relationships/tags" Target="../tags/tag747.xml"/><Relationship Id="rId14" Type="http://schemas.openxmlformats.org/officeDocument/2006/relationships/tags" Target="../tags/tag752.xml"/><Relationship Id="rId22" Type="http://schemas.openxmlformats.org/officeDocument/2006/relationships/tags" Target="../tags/tag760.xml"/><Relationship Id="rId27" Type="http://schemas.openxmlformats.org/officeDocument/2006/relationships/tags" Target="../tags/tag765.xml"/><Relationship Id="rId30" Type="http://schemas.openxmlformats.org/officeDocument/2006/relationships/tags" Target="../tags/tag768.xml"/><Relationship Id="rId35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779.xml"/><Relationship Id="rId13" Type="http://schemas.openxmlformats.org/officeDocument/2006/relationships/tags" Target="../tags/tag784.xml"/><Relationship Id="rId18" Type="http://schemas.openxmlformats.org/officeDocument/2006/relationships/tags" Target="../tags/tag789.xml"/><Relationship Id="rId26" Type="http://schemas.openxmlformats.org/officeDocument/2006/relationships/tags" Target="../tags/tag797.xml"/><Relationship Id="rId3" Type="http://schemas.openxmlformats.org/officeDocument/2006/relationships/tags" Target="../tags/tag774.xml"/><Relationship Id="rId21" Type="http://schemas.openxmlformats.org/officeDocument/2006/relationships/tags" Target="../tags/tag792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778.xml"/><Relationship Id="rId12" Type="http://schemas.openxmlformats.org/officeDocument/2006/relationships/tags" Target="../tags/tag783.xml"/><Relationship Id="rId17" Type="http://schemas.openxmlformats.org/officeDocument/2006/relationships/tags" Target="../tags/tag788.xml"/><Relationship Id="rId25" Type="http://schemas.openxmlformats.org/officeDocument/2006/relationships/tags" Target="../tags/tag796.xml"/><Relationship Id="rId33" Type="http://schemas.openxmlformats.org/officeDocument/2006/relationships/tags" Target="../tags/tag804.xml"/><Relationship Id="rId38" Type="http://schemas.openxmlformats.org/officeDocument/2006/relationships/comments" Target="../comments/comment2.xml"/><Relationship Id="rId2" Type="http://schemas.openxmlformats.org/officeDocument/2006/relationships/tags" Target="../tags/tag773.xml"/><Relationship Id="rId16" Type="http://schemas.openxmlformats.org/officeDocument/2006/relationships/tags" Target="../tags/tag787.xml"/><Relationship Id="rId20" Type="http://schemas.openxmlformats.org/officeDocument/2006/relationships/tags" Target="../tags/tag791.xml"/><Relationship Id="rId29" Type="http://schemas.openxmlformats.org/officeDocument/2006/relationships/tags" Target="../tags/tag800.xml"/><Relationship Id="rId1" Type="http://schemas.openxmlformats.org/officeDocument/2006/relationships/vmlDrawing" Target="../drawings/vmlDrawing29.vml"/><Relationship Id="rId6" Type="http://schemas.openxmlformats.org/officeDocument/2006/relationships/tags" Target="../tags/tag777.xml"/><Relationship Id="rId11" Type="http://schemas.openxmlformats.org/officeDocument/2006/relationships/tags" Target="../tags/tag782.xml"/><Relationship Id="rId24" Type="http://schemas.openxmlformats.org/officeDocument/2006/relationships/tags" Target="../tags/tag795.xml"/><Relationship Id="rId32" Type="http://schemas.openxmlformats.org/officeDocument/2006/relationships/tags" Target="../tags/tag803.xml"/><Relationship Id="rId37" Type="http://schemas.openxmlformats.org/officeDocument/2006/relationships/chart" Target="../charts/chart18.xml"/><Relationship Id="rId5" Type="http://schemas.openxmlformats.org/officeDocument/2006/relationships/tags" Target="../tags/tag776.xml"/><Relationship Id="rId15" Type="http://schemas.openxmlformats.org/officeDocument/2006/relationships/tags" Target="../tags/tag786.xml"/><Relationship Id="rId23" Type="http://schemas.openxmlformats.org/officeDocument/2006/relationships/tags" Target="../tags/tag794.xml"/><Relationship Id="rId28" Type="http://schemas.openxmlformats.org/officeDocument/2006/relationships/tags" Target="../tags/tag799.xml"/><Relationship Id="rId36" Type="http://schemas.openxmlformats.org/officeDocument/2006/relationships/image" Target="../media/image6.emf"/><Relationship Id="rId10" Type="http://schemas.openxmlformats.org/officeDocument/2006/relationships/tags" Target="../tags/tag781.xml"/><Relationship Id="rId19" Type="http://schemas.openxmlformats.org/officeDocument/2006/relationships/tags" Target="../tags/tag790.xml"/><Relationship Id="rId31" Type="http://schemas.openxmlformats.org/officeDocument/2006/relationships/tags" Target="../tags/tag802.xml"/><Relationship Id="rId4" Type="http://schemas.openxmlformats.org/officeDocument/2006/relationships/tags" Target="../tags/tag775.xml"/><Relationship Id="rId9" Type="http://schemas.openxmlformats.org/officeDocument/2006/relationships/tags" Target="../tags/tag780.xml"/><Relationship Id="rId14" Type="http://schemas.openxmlformats.org/officeDocument/2006/relationships/tags" Target="../tags/tag785.xml"/><Relationship Id="rId22" Type="http://schemas.openxmlformats.org/officeDocument/2006/relationships/tags" Target="../tags/tag793.xml"/><Relationship Id="rId27" Type="http://schemas.openxmlformats.org/officeDocument/2006/relationships/tags" Target="../tags/tag798.xml"/><Relationship Id="rId30" Type="http://schemas.openxmlformats.org/officeDocument/2006/relationships/tags" Target="../tags/tag801.xml"/><Relationship Id="rId35" Type="http://schemas.openxmlformats.org/officeDocument/2006/relationships/oleObject" Target="../embeddings/oleObject29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06.xml"/><Relationship Id="rId2" Type="http://schemas.openxmlformats.org/officeDocument/2006/relationships/tags" Target="../tags/tag80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08.xml"/><Relationship Id="rId7" Type="http://schemas.openxmlformats.org/officeDocument/2006/relationships/image" Target="../media/image6.emf"/><Relationship Id="rId2" Type="http://schemas.openxmlformats.org/officeDocument/2006/relationships/tags" Target="../tags/tag807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tags" Target="../tags/tag820.xml"/><Relationship Id="rId18" Type="http://schemas.openxmlformats.org/officeDocument/2006/relationships/tags" Target="../tags/tag825.xml"/><Relationship Id="rId26" Type="http://schemas.openxmlformats.org/officeDocument/2006/relationships/tags" Target="../tags/tag833.xml"/><Relationship Id="rId39" Type="http://schemas.openxmlformats.org/officeDocument/2006/relationships/tags" Target="../tags/tag846.xml"/><Relationship Id="rId21" Type="http://schemas.openxmlformats.org/officeDocument/2006/relationships/tags" Target="../tags/tag828.xml"/><Relationship Id="rId34" Type="http://schemas.openxmlformats.org/officeDocument/2006/relationships/tags" Target="../tags/tag841.xml"/><Relationship Id="rId42" Type="http://schemas.openxmlformats.org/officeDocument/2006/relationships/tags" Target="../tags/tag849.xml"/><Relationship Id="rId47" Type="http://schemas.openxmlformats.org/officeDocument/2006/relationships/tags" Target="../tags/tag854.xml"/><Relationship Id="rId50" Type="http://schemas.openxmlformats.org/officeDocument/2006/relationships/tags" Target="../tags/tag857.xml"/><Relationship Id="rId55" Type="http://schemas.openxmlformats.org/officeDocument/2006/relationships/tags" Target="../tags/tag862.xml"/><Relationship Id="rId63" Type="http://schemas.openxmlformats.org/officeDocument/2006/relationships/tags" Target="../tags/tag870.xml"/><Relationship Id="rId68" Type="http://schemas.openxmlformats.org/officeDocument/2006/relationships/tags" Target="../tags/tag875.xml"/><Relationship Id="rId76" Type="http://schemas.openxmlformats.org/officeDocument/2006/relationships/chart" Target="../charts/chart19.xml"/><Relationship Id="rId7" Type="http://schemas.openxmlformats.org/officeDocument/2006/relationships/tags" Target="../tags/tag814.xml"/><Relationship Id="rId71" Type="http://schemas.openxmlformats.org/officeDocument/2006/relationships/tags" Target="../tags/tag878.xml"/><Relationship Id="rId2" Type="http://schemas.openxmlformats.org/officeDocument/2006/relationships/tags" Target="../tags/tag809.xml"/><Relationship Id="rId16" Type="http://schemas.openxmlformats.org/officeDocument/2006/relationships/tags" Target="../tags/tag823.xml"/><Relationship Id="rId29" Type="http://schemas.openxmlformats.org/officeDocument/2006/relationships/tags" Target="../tags/tag836.xml"/><Relationship Id="rId11" Type="http://schemas.openxmlformats.org/officeDocument/2006/relationships/tags" Target="../tags/tag818.xml"/><Relationship Id="rId24" Type="http://schemas.openxmlformats.org/officeDocument/2006/relationships/tags" Target="../tags/tag831.xml"/><Relationship Id="rId32" Type="http://schemas.openxmlformats.org/officeDocument/2006/relationships/tags" Target="../tags/tag839.xml"/><Relationship Id="rId37" Type="http://schemas.openxmlformats.org/officeDocument/2006/relationships/tags" Target="../tags/tag844.xml"/><Relationship Id="rId40" Type="http://schemas.openxmlformats.org/officeDocument/2006/relationships/tags" Target="../tags/tag847.xml"/><Relationship Id="rId45" Type="http://schemas.openxmlformats.org/officeDocument/2006/relationships/tags" Target="../tags/tag852.xml"/><Relationship Id="rId53" Type="http://schemas.openxmlformats.org/officeDocument/2006/relationships/tags" Target="../tags/tag860.xml"/><Relationship Id="rId58" Type="http://schemas.openxmlformats.org/officeDocument/2006/relationships/tags" Target="../tags/tag865.xml"/><Relationship Id="rId66" Type="http://schemas.openxmlformats.org/officeDocument/2006/relationships/tags" Target="../tags/tag873.xml"/><Relationship Id="rId74" Type="http://schemas.openxmlformats.org/officeDocument/2006/relationships/oleObject" Target="../embeddings/oleObject32.bin"/><Relationship Id="rId5" Type="http://schemas.openxmlformats.org/officeDocument/2006/relationships/tags" Target="../tags/tag812.xml"/><Relationship Id="rId15" Type="http://schemas.openxmlformats.org/officeDocument/2006/relationships/tags" Target="../tags/tag822.xml"/><Relationship Id="rId23" Type="http://schemas.openxmlformats.org/officeDocument/2006/relationships/tags" Target="../tags/tag830.xml"/><Relationship Id="rId28" Type="http://schemas.openxmlformats.org/officeDocument/2006/relationships/tags" Target="../tags/tag835.xml"/><Relationship Id="rId36" Type="http://schemas.openxmlformats.org/officeDocument/2006/relationships/tags" Target="../tags/tag843.xml"/><Relationship Id="rId49" Type="http://schemas.openxmlformats.org/officeDocument/2006/relationships/tags" Target="../tags/tag856.xml"/><Relationship Id="rId57" Type="http://schemas.openxmlformats.org/officeDocument/2006/relationships/tags" Target="../tags/tag864.xml"/><Relationship Id="rId61" Type="http://schemas.openxmlformats.org/officeDocument/2006/relationships/tags" Target="../tags/tag868.xml"/><Relationship Id="rId10" Type="http://schemas.openxmlformats.org/officeDocument/2006/relationships/tags" Target="../tags/tag817.xml"/><Relationship Id="rId19" Type="http://schemas.openxmlformats.org/officeDocument/2006/relationships/tags" Target="../tags/tag826.xml"/><Relationship Id="rId31" Type="http://schemas.openxmlformats.org/officeDocument/2006/relationships/tags" Target="../tags/tag838.xml"/><Relationship Id="rId44" Type="http://schemas.openxmlformats.org/officeDocument/2006/relationships/tags" Target="../tags/tag851.xml"/><Relationship Id="rId52" Type="http://schemas.openxmlformats.org/officeDocument/2006/relationships/tags" Target="../tags/tag859.xml"/><Relationship Id="rId60" Type="http://schemas.openxmlformats.org/officeDocument/2006/relationships/tags" Target="../tags/tag867.xml"/><Relationship Id="rId65" Type="http://schemas.openxmlformats.org/officeDocument/2006/relationships/tags" Target="../tags/tag872.xml"/><Relationship Id="rId73" Type="http://schemas.openxmlformats.org/officeDocument/2006/relationships/notesSlide" Target="../notesSlides/notesSlide15.xml"/><Relationship Id="rId4" Type="http://schemas.openxmlformats.org/officeDocument/2006/relationships/tags" Target="../tags/tag811.xml"/><Relationship Id="rId9" Type="http://schemas.openxmlformats.org/officeDocument/2006/relationships/tags" Target="../tags/tag816.xml"/><Relationship Id="rId14" Type="http://schemas.openxmlformats.org/officeDocument/2006/relationships/tags" Target="../tags/tag821.xml"/><Relationship Id="rId22" Type="http://schemas.openxmlformats.org/officeDocument/2006/relationships/tags" Target="../tags/tag829.xml"/><Relationship Id="rId27" Type="http://schemas.openxmlformats.org/officeDocument/2006/relationships/tags" Target="../tags/tag834.xml"/><Relationship Id="rId30" Type="http://schemas.openxmlformats.org/officeDocument/2006/relationships/tags" Target="../tags/tag837.xml"/><Relationship Id="rId35" Type="http://schemas.openxmlformats.org/officeDocument/2006/relationships/tags" Target="../tags/tag842.xml"/><Relationship Id="rId43" Type="http://schemas.openxmlformats.org/officeDocument/2006/relationships/tags" Target="../tags/tag850.xml"/><Relationship Id="rId48" Type="http://schemas.openxmlformats.org/officeDocument/2006/relationships/tags" Target="../tags/tag855.xml"/><Relationship Id="rId56" Type="http://schemas.openxmlformats.org/officeDocument/2006/relationships/tags" Target="../tags/tag863.xml"/><Relationship Id="rId64" Type="http://schemas.openxmlformats.org/officeDocument/2006/relationships/tags" Target="../tags/tag871.xml"/><Relationship Id="rId69" Type="http://schemas.openxmlformats.org/officeDocument/2006/relationships/tags" Target="../tags/tag876.xml"/><Relationship Id="rId8" Type="http://schemas.openxmlformats.org/officeDocument/2006/relationships/tags" Target="../tags/tag815.xml"/><Relationship Id="rId51" Type="http://schemas.openxmlformats.org/officeDocument/2006/relationships/tags" Target="../tags/tag858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810.xml"/><Relationship Id="rId12" Type="http://schemas.openxmlformats.org/officeDocument/2006/relationships/tags" Target="../tags/tag819.xml"/><Relationship Id="rId17" Type="http://schemas.openxmlformats.org/officeDocument/2006/relationships/tags" Target="../tags/tag824.xml"/><Relationship Id="rId25" Type="http://schemas.openxmlformats.org/officeDocument/2006/relationships/tags" Target="../tags/tag832.xml"/><Relationship Id="rId33" Type="http://schemas.openxmlformats.org/officeDocument/2006/relationships/tags" Target="../tags/tag840.xml"/><Relationship Id="rId38" Type="http://schemas.openxmlformats.org/officeDocument/2006/relationships/tags" Target="../tags/tag845.xml"/><Relationship Id="rId46" Type="http://schemas.openxmlformats.org/officeDocument/2006/relationships/tags" Target="../tags/tag853.xml"/><Relationship Id="rId59" Type="http://schemas.openxmlformats.org/officeDocument/2006/relationships/tags" Target="../tags/tag866.xml"/><Relationship Id="rId67" Type="http://schemas.openxmlformats.org/officeDocument/2006/relationships/tags" Target="../tags/tag874.xml"/><Relationship Id="rId20" Type="http://schemas.openxmlformats.org/officeDocument/2006/relationships/tags" Target="../tags/tag827.xml"/><Relationship Id="rId41" Type="http://schemas.openxmlformats.org/officeDocument/2006/relationships/tags" Target="../tags/tag848.xml"/><Relationship Id="rId54" Type="http://schemas.openxmlformats.org/officeDocument/2006/relationships/tags" Target="../tags/tag861.xml"/><Relationship Id="rId62" Type="http://schemas.openxmlformats.org/officeDocument/2006/relationships/tags" Target="../tags/tag869.xml"/><Relationship Id="rId70" Type="http://schemas.openxmlformats.org/officeDocument/2006/relationships/tags" Target="../tags/tag877.xml"/><Relationship Id="rId75" Type="http://schemas.openxmlformats.org/officeDocument/2006/relationships/image" Target="../media/image6.emf"/><Relationship Id="rId1" Type="http://schemas.openxmlformats.org/officeDocument/2006/relationships/vmlDrawing" Target="../drawings/vmlDrawing32.vml"/><Relationship Id="rId6" Type="http://schemas.openxmlformats.org/officeDocument/2006/relationships/tags" Target="../tags/tag813.xm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890.xml"/><Relationship Id="rId18" Type="http://schemas.openxmlformats.org/officeDocument/2006/relationships/tags" Target="../tags/tag895.xml"/><Relationship Id="rId26" Type="http://schemas.openxmlformats.org/officeDocument/2006/relationships/tags" Target="../tags/tag903.xml"/><Relationship Id="rId39" Type="http://schemas.openxmlformats.org/officeDocument/2006/relationships/tags" Target="../tags/tag916.xml"/><Relationship Id="rId3" Type="http://schemas.openxmlformats.org/officeDocument/2006/relationships/tags" Target="../tags/tag880.xml"/><Relationship Id="rId21" Type="http://schemas.openxmlformats.org/officeDocument/2006/relationships/tags" Target="../tags/tag898.xml"/><Relationship Id="rId34" Type="http://schemas.openxmlformats.org/officeDocument/2006/relationships/tags" Target="../tags/tag911.xml"/><Relationship Id="rId42" Type="http://schemas.openxmlformats.org/officeDocument/2006/relationships/tags" Target="../tags/tag919.xml"/><Relationship Id="rId47" Type="http://schemas.openxmlformats.org/officeDocument/2006/relationships/notesSlide" Target="../notesSlides/notesSlide16.xml"/><Relationship Id="rId50" Type="http://schemas.openxmlformats.org/officeDocument/2006/relationships/chart" Target="../charts/chart20.xml"/><Relationship Id="rId7" Type="http://schemas.openxmlformats.org/officeDocument/2006/relationships/tags" Target="../tags/tag884.xml"/><Relationship Id="rId12" Type="http://schemas.openxmlformats.org/officeDocument/2006/relationships/tags" Target="../tags/tag889.xml"/><Relationship Id="rId17" Type="http://schemas.openxmlformats.org/officeDocument/2006/relationships/tags" Target="../tags/tag894.xml"/><Relationship Id="rId25" Type="http://schemas.openxmlformats.org/officeDocument/2006/relationships/tags" Target="../tags/tag902.xml"/><Relationship Id="rId33" Type="http://schemas.openxmlformats.org/officeDocument/2006/relationships/tags" Target="../tags/tag910.xml"/><Relationship Id="rId38" Type="http://schemas.openxmlformats.org/officeDocument/2006/relationships/tags" Target="../tags/tag915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879.xml"/><Relationship Id="rId16" Type="http://schemas.openxmlformats.org/officeDocument/2006/relationships/tags" Target="../tags/tag893.xml"/><Relationship Id="rId20" Type="http://schemas.openxmlformats.org/officeDocument/2006/relationships/tags" Target="../tags/tag897.xml"/><Relationship Id="rId29" Type="http://schemas.openxmlformats.org/officeDocument/2006/relationships/tags" Target="../tags/tag906.xml"/><Relationship Id="rId41" Type="http://schemas.openxmlformats.org/officeDocument/2006/relationships/tags" Target="../tags/tag918.xml"/><Relationship Id="rId1" Type="http://schemas.openxmlformats.org/officeDocument/2006/relationships/vmlDrawing" Target="../drawings/vmlDrawing33.vml"/><Relationship Id="rId6" Type="http://schemas.openxmlformats.org/officeDocument/2006/relationships/tags" Target="../tags/tag883.xml"/><Relationship Id="rId11" Type="http://schemas.openxmlformats.org/officeDocument/2006/relationships/tags" Target="../tags/tag888.xml"/><Relationship Id="rId24" Type="http://schemas.openxmlformats.org/officeDocument/2006/relationships/tags" Target="../tags/tag901.xml"/><Relationship Id="rId32" Type="http://schemas.openxmlformats.org/officeDocument/2006/relationships/tags" Target="../tags/tag909.xml"/><Relationship Id="rId37" Type="http://schemas.openxmlformats.org/officeDocument/2006/relationships/tags" Target="../tags/tag914.xml"/><Relationship Id="rId40" Type="http://schemas.openxmlformats.org/officeDocument/2006/relationships/tags" Target="../tags/tag917.xml"/><Relationship Id="rId45" Type="http://schemas.openxmlformats.org/officeDocument/2006/relationships/tags" Target="../tags/tag922.xml"/><Relationship Id="rId5" Type="http://schemas.openxmlformats.org/officeDocument/2006/relationships/tags" Target="../tags/tag882.xml"/><Relationship Id="rId15" Type="http://schemas.openxmlformats.org/officeDocument/2006/relationships/tags" Target="../tags/tag892.xml"/><Relationship Id="rId23" Type="http://schemas.openxmlformats.org/officeDocument/2006/relationships/tags" Target="../tags/tag900.xml"/><Relationship Id="rId28" Type="http://schemas.openxmlformats.org/officeDocument/2006/relationships/tags" Target="../tags/tag905.xml"/><Relationship Id="rId36" Type="http://schemas.openxmlformats.org/officeDocument/2006/relationships/tags" Target="../tags/tag913.xml"/><Relationship Id="rId49" Type="http://schemas.openxmlformats.org/officeDocument/2006/relationships/image" Target="../media/image6.emf"/><Relationship Id="rId10" Type="http://schemas.openxmlformats.org/officeDocument/2006/relationships/tags" Target="../tags/tag887.xml"/><Relationship Id="rId19" Type="http://schemas.openxmlformats.org/officeDocument/2006/relationships/tags" Target="../tags/tag896.xml"/><Relationship Id="rId31" Type="http://schemas.openxmlformats.org/officeDocument/2006/relationships/tags" Target="../tags/tag908.xml"/><Relationship Id="rId44" Type="http://schemas.openxmlformats.org/officeDocument/2006/relationships/tags" Target="../tags/tag921.xml"/><Relationship Id="rId4" Type="http://schemas.openxmlformats.org/officeDocument/2006/relationships/tags" Target="../tags/tag881.xml"/><Relationship Id="rId9" Type="http://schemas.openxmlformats.org/officeDocument/2006/relationships/tags" Target="../tags/tag886.xml"/><Relationship Id="rId14" Type="http://schemas.openxmlformats.org/officeDocument/2006/relationships/tags" Target="../tags/tag891.xml"/><Relationship Id="rId22" Type="http://schemas.openxmlformats.org/officeDocument/2006/relationships/tags" Target="../tags/tag899.xml"/><Relationship Id="rId27" Type="http://schemas.openxmlformats.org/officeDocument/2006/relationships/tags" Target="../tags/tag904.xml"/><Relationship Id="rId30" Type="http://schemas.openxmlformats.org/officeDocument/2006/relationships/tags" Target="../tags/tag907.xml"/><Relationship Id="rId35" Type="http://schemas.openxmlformats.org/officeDocument/2006/relationships/tags" Target="../tags/tag912.xml"/><Relationship Id="rId43" Type="http://schemas.openxmlformats.org/officeDocument/2006/relationships/tags" Target="../tags/tag920.xml"/><Relationship Id="rId48" Type="http://schemas.openxmlformats.org/officeDocument/2006/relationships/oleObject" Target="../embeddings/oleObject33.bin"/><Relationship Id="rId8" Type="http://schemas.openxmlformats.org/officeDocument/2006/relationships/tags" Target="../tags/tag88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929.xml"/><Relationship Id="rId13" Type="http://schemas.openxmlformats.org/officeDocument/2006/relationships/tags" Target="../tags/tag934.xml"/><Relationship Id="rId18" Type="http://schemas.openxmlformats.org/officeDocument/2006/relationships/tags" Target="../tags/tag939.xml"/><Relationship Id="rId26" Type="http://schemas.openxmlformats.org/officeDocument/2006/relationships/tags" Target="../tags/tag947.xml"/><Relationship Id="rId3" Type="http://schemas.openxmlformats.org/officeDocument/2006/relationships/tags" Target="../tags/tag924.xml"/><Relationship Id="rId21" Type="http://schemas.openxmlformats.org/officeDocument/2006/relationships/tags" Target="../tags/tag942.xml"/><Relationship Id="rId34" Type="http://schemas.openxmlformats.org/officeDocument/2006/relationships/image" Target="../media/image6.emf"/><Relationship Id="rId7" Type="http://schemas.openxmlformats.org/officeDocument/2006/relationships/tags" Target="../tags/tag928.xml"/><Relationship Id="rId12" Type="http://schemas.openxmlformats.org/officeDocument/2006/relationships/tags" Target="../tags/tag933.xml"/><Relationship Id="rId17" Type="http://schemas.openxmlformats.org/officeDocument/2006/relationships/tags" Target="../tags/tag938.xml"/><Relationship Id="rId25" Type="http://schemas.openxmlformats.org/officeDocument/2006/relationships/tags" Target="../tags/tag946.xml"/><Relationship Id="rId33" Type="http://schemas.openxmlformats.org/officeDocument/2006/relationships/oleObject" Target="../embeddings/oleObject34.bin"/><Relationship Id="rId2" Type="http://schemas.openxmlformats.org/officeDocument/2006/relationships/tags" Target="../tags/tag923.xml"/><Relationship Id="rId16" Type="http://schemas.openxmlformats.org/officeDocument/2006/relationships/tags" Target="../tags/tag937.xml"/><Relationship Id="rId20" Type="http://schemas.openxmlformats.org/officeDocument/2006/relationships/tags" Target="../tags/tag941.xml"/><Relationship Id="rId29" Type="http://schemas.openxmlformats.org/officeDocument/2006/relationships/tags" Target="../tags/tag950.xml"/><Relationship Id="rId1" Type="http://schemas.openxmlformats.org/officeDocument/2006/relationships/vmlDrawing" Target="../drawings/vmlDrawing34.vml"/><Relationship Id="rId6" Type="http://schemas.openxmlformats.org/officeDocument/2006/relationships/tags" Target="../tags/tag927.xml"/><Relationship Id="rId11" Type="http://schemas.openxmlformats.org/officeDocument/2006/relationships/tags" Target="../tags/tag932.xml"/><Relationship Id="rId24" Type="http://schemas.openxmlformats.org/officeDocument/2006/relationships/tags" Target="../tags/tag945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926.xml"/><Relationship Id="rId15" Type="http://schemas.openxmlformats.org/officeDocument/2006/relationships/tags" Target="../tags/tag936.xml"/><Relationship Id="rId23" Type="http://schemas.openxmlformats.org/officeDocument/2006/relationships/tags" Target="../tags/tag944.xml"/><Relationship Id="rId28" Type="http://schemas.openxmlformats.org/officeDocument/2006/relationships/tags" Target="../tags/tag949.xml"/><Relationship Id="rId10" Type="http://schemas.openxmlformats.org/officeDocument/2006/relationships/tags" Target="../tags/tag931.xml"/><Relationship Id="rId19" Type="http://schemas.openxmlformats.org/officeDocument/2006/relationships/tags" Target="../tags/tag940.xml"/><Relationship Id="rId31" Type="http://schemas.openxmlformats.org/officeDocument/2006/relationships/tags" Target="../tags/tag952.xml"/><Relationship Id="rId4" Type="http://schemas.openxmlformats.org/officeDocument/2006/relationships/tags" Target="../tags/tag925.xml"/><Relationship Id="rId9" Type="http://schemas.openxmlformats.org/officeDocument/2006/relationships/tags" Target="../tags/tag930.xml"/><Relationship Id="rId14" Type="http://schemas.openxmlformats.org/officeDocument/2006/relationships/tags" Target="../tags/tag935.xml"/><Relationship Id="rId22" Type="http://schemas.openxmlformats.org/officeDocument/2006/relationships/tags" Target="../tags/tag943.xml"/><Relationship Id="rId27" Type="http://schemas.openxmlformats.org/officeDocument/2006/relationships/tags" Target="../tags/tag948.xml"/><Relationship Id="rId30" Type="http://schemas.openxmlformats.org/officeDocument/2006/relationships/tags" Target="../tags/tag951.xml"/><Relationship Id="rId35" Type="http://schemas.openxmlformats.org/officeDocument/2006/relationships/chart" Target="../charts/chart2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954.xml"/><Relationship Id="rId7" Type="http://schemas.openxmlformats.org/officeDocument/2006/relationships/image" Target="../media/image6.emf"/><Relationship Id="rId2" Type="http://schemas.openxmlformats.org/officeDocument/2006/relationships/tags" Target="../tags/tag953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961.xml"/><Relationship Id="rId13" Type="http://schemas.openxmlformats.org/officeDocument/2006/relationships/tags" Target="../tags/tag966.xml"/><Relationship Id="rId18" Type="http://schemas.openxmlformats.org/officeDocument/2006/relationships/tags" Target="../tags/tag971.xml"/><Relationship Id="rId26" Type="http://schemas.openxmlformats.org/officeDocument/2006/relationships/tags" Target="../tags/tag979.xml"/><Relationship Id="rId3" Type="http://schemas.openxmlformats.org/officeDocument/2006/relationships/tags" Target="../tags/tag956.xml"/><Relationship Id="rId21" Type="http://schemas.openxmlformats.org/officeDocument/2006/relationships/tags" Target="../tags/tag974.xml"/><Relationship Id="rId34" Type="http://schemas.openxmlformats.org/officeDocument/2006/relationships/image" Target="../media/image6.emf"/><Relationship Id="rId7" Type="http://schemas.openxmlformats.org/officeDocument/2006/relationships/tags" Target="../tags/tag960.xml"/><Relationship Id="rId12" Type="http://schemas.openxmlformats.org/officeDocument/2006/relationships/tags" Target="../tags/tag965.xml"/><Relationship Id="rId17" Type="http://schemas.openxmlformats.org/officeDocument/2006/relationships/tags" Target="../tags/tag970.xml"/><Relationship Id="rId25" Type="http://schemas.openxmlformats.org/officeDocument/2006/relationships/tags" Target="../tags/tag978.xml"/><Relationship Id="rId33" Type="http://schemas.openxmlformats.org/officeDocument/2006/relationships/oleObject" Target="../embeddings/oleObject36.bin"/><Relationship Id="rId2" Type="http://schemas.openxmlformats.org/officeDocument/2006/relationships/tags" Target="../tags/tag955.xml"/><Relationship Id="rId16" Type="http://schemas.openxmlformats.org/officeDocument/2006/relationships/tags" Target="../tags/tag969.xml"/><Relationship Id="rId20" Type="http://schemas.openxmlformats.org/officeDocument/2006/relationships/tags" Target="../tags/tag973.xml"/><Relationship Id="rId29" Type="http://schemas.openxmlformats.org/officeDocument/2006/relationships/tags" Target="../tags/tag982.xml"/><Relationship Id="rId1" Type="http://schemas.openxmlformats.org/officeDocument/2006/relationships/vmlDrawing" Target="../drawings/vmlDrawing36.vml"/><Relationship Id="rId6" Type="http://schemas.openxmlformats.org/officeDocument/2006/relationships/tags" Target="../tags/tag959.xml"/><Relationship Id="rId11" Type="http://schemas.openxmlformats.org/officeDocument/2006/relationships/tags" Target="../tags/tag964.xml"/><Relationship Id="rId24" Type="http://schemas.openxmlformats.org/officeDocument/2006/relationships/tags" Target="../tags/tag977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958.xml"/><Relationship Id="rId15" Type="http://schemas.openxmlformats.org/officeDocument/2006/relationships/tags" Target="../tags/tag968.xml"/><Relationship Id="rId23" Type="http://schemas.openxmlformats.org/officeDocument/2006/relationships/tags" Target="../tags/tag976.xml"/><Relationship Id="rId28" Type="http://schemas.openxmlformats.org/officeDocument/2006/relationships/tags" Target="../tags/tag981.xml"/><Relationship Id="rId10" Type="http://schemas.openxmlformats.org/officeDocument/2006/relationships/tags" Target="../tags/tag963.xml"/><Relationship Id="rId19" Type="http://schemas.openxmlformats.org/officeDocument/2006/relationships/tags" Target="../tags/tag972.xml"/><Relationship Id="rId31" Type="http://schemas.openxmlformats.org/officeDocument/2006/relationships/tags" Target="../tags/tag984.xml"/><Relationship Id="rId4" Type="http://schemas.openxmlformats.org/officeDocument/2006/relationships/tags" Target="../tags/tag957.xml"/><Relationship Id="rId9" Type="http://schemas.openxmlformats.org/officeDocument/2006/relationships/tags" Target="../tags/tag962.xml"/><Relationship Id="rId14" Type="http://schemas.openxmlformats.org/officeDocument/2006/relationships/tags" Target="../tags/tag967.xml"/><Relationship Id="rId22" Type="http://schemas.openxmlformats.org/officeDocument/2006/relationships/tags" Target="../tags/tag975.xml"/><Relationship Id="rId27" Type="http://schemas.openxmlformats.org/officeDocument/2006/relationships/tags" Target="../tags/tag980.xml"/><Relationship Id="rId30" Type="http://schemas.openxmlformats.org/officeDocument/2006/relationships/tags" Target="../tags/tag983.xml"/><Relationship Id="rId35" Type="http://schemas.openxmlformats.org/officeDocument/2006/relationships/chart" Target="../charts/chart2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.xml"/><Relationship Id="rId3" Type="http://schemas.openxmlformats.org/officeDocument/2006/relationships/tags" Target="../tags/tag986.xml"/><Relationship Id="rId7" Type="http://schemas.openxmlformats.org/officeDocument/2006/relationships/image" Target="../media/image6.emf"/><Relationship Id="rId2" Type="http://schemas.openxmlformats.org/officeDocument/2006/relationships/tags" Target="../tags/tag985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993.xml"/><Relationship Id="rId13" Type="http://schemas.openxmlformats.org/officeDocument/2006/relationships/tags" Target="../tags/tag998.xml"/><Relationship Id="rId18" Type="http://schemas.openxmlformats.org/officeDocument/2006/relationships/tags" Target="../tags/tag1003.xml"/><Relationship Id="rId26" Type="http://schemas.openxmlformats.org/officeDocument/2006/relationships/tags" Target="../tags/tag1011.xml"/><Relationship Id="rId3" Type="http://schemas.openxmlformats.org/officeDocument/2006/relationships/tags" Target="../tags/tag988.xml"/><Relationship Id="rId21" Type="http://schemas.openxmlformats.org/officeDocument/2006/relationships/tags" Target="../tags/tag1006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992.xml"/><Relationship Id="rId12" Type="http://schemas.openxmlformats.org/officeDocument/2006/relationships/tags" Target="../tags/tag997.xml"/><Relationship Id="rId17" Type="http://schemas.openxmlformats.org/officeDocument/2006/relationships/tags" Target="../tags/tag1002.xml"/><Relationship Id="rId25" Type="http://schemas.openxmlformats.org/officeDocument/2006/relationships/tags" Target="../tags/tag1010.xml"/><Relationship Id="rId33" Type="http://schemas.openxmlformats.org/officeDocument/2006/relationships/tags" Target="../tags/tag1018.xml"/><Relationship Id="rId38" Type="http://schemas.openxmlformats.org/officeDocument/2006/relationships/comments" Target="../comments/comment3.xml"/><Relationship Id="rId2" Type="http://schemas.openxmlformats.org/officeDocument/2006/relationships/tags" Target="../tags/tag987.xml"/><Relationship Id="rId16" Type="http://schemas.openxmlformats.org/officeDocument/2006/relationships/tags" Target="../tags/tag1001.xml"/><Relationship Id="rId20" Type="http://schemas.openxmlformats.org/officeDocument/2006/relationships/tags" Target="../tags/tag1005.xml"/><Relationship Id="rId29" Type="http://schemas.openxmlformats.org/officeDocument/2006/relationships/tags" Target="../tags/tag1014.xml"/><Relationship Id="rId1" Type="http://schemas.openxmlformats.org/officeDocument/2006/relationships/vmlDrawing" Target="../drawings/vmlDrawing38.vml"/><Relationship Id="rId6" Type="http://schemas.openxmlformats.org/officeDocument/2006/relationships/tags" Target="../tags/tag991.xml"/><Relationship Id="rId11" Type="http://schemas.openxmlformats.org/officeDocument/2006/relationships/tags" Target="../tags/tag996.xml"/><Relationship Id="rId24" Type="http://schemas.openxmlformats.org/officeDocument/2006/relationships/tags" Target="../tags/tag1009.xml"/><Relationship Id="rId32" Type="http://schemas.openxmlformats.org/officeDocument/2006/relationships/tags" Target="../tags/tag1017.xml"/><Relationship Id="rId37" Type="http://schemas.openxmlformats.org/officeDocument/2006/relationships/chart" Target="../charts/chart25.xml"/><Relationship Id="rId5" Type="http://schemas.openxmlformats.org/officeDocument/2006/relationships/tags" Target="../tags/tag990.xml"/><Relationship Id="rId15" Type="http://schemas.openxmlformats.org/officeDocument/2006/relationships/tags" Target="../tags/tag1000.xml"/><Relationship Id="rId23" Type="http://schemas.openxmlformats.org/officeDocument/2006/relationships/tags" Target="../tags/tag1008.xml"/><Relationship Id="rId28" Type="http://schemas.openxmlformats.org/officeDocument/2006/relationships/tags" Target="../tags/tag1013.xml"/><Relationship Id="rId36" Type="http://schemas.openxmlformats.org/officeDocument/2006/relationships/image" Target="../media/image6.emf"/><Relationship Id="rId10" Type="http://schemas.openxmlformats.org/officeDocument/2006/relationships/tags" Target="../tags/tag995.xml"/><Relationship Id="rId19" Type="http://schemas.openxmlformats.org/officeDocument/2006/relationships/tags" Target="../tags/tag1004.xml"/><Relationship Id="rId31" Type="http://schemas.openxmlformats.org/officeDocument/2006/relationships/tags" Target="../tags/tag1016.xml"/><Relationship Id="rId4" Type="http://schemas.openxmlformats.org/officeDocument/2006/relationships/tags" Target="../tags/tag989.xml"/><Relationship Id="rId9" Type="http://schemas.openxmlformats.org/officeDocument/2006/relationships/tags" Target="../tags/tag994.xml"/><Relationship Id="rId14" Type="http://schemas.openxmlformats.org/officeDocument/2006/relationships/tags" Target="../tags/tag999.xml"/><Relationship Id="rId22" Type="http://schemas.openxmlformats.org/officeDocument/2006/relationships/tags" Target="../tags/tag1007.xml"/><Relationship Id="rId27" Type="http://schemas.openxmlformats.org/officeDocument/2006/relationships/tags" Target="../tags/tag1012.xml"/><Relationship Id="rId30" Type="http://schemas.openxmlformats.org/officeDocument/2006/relationships/tags" Target="../tags/tag1015.xml"/><Relationship Id="rId35" Type="http://schemas.openxmlformats.org/officeDocument/2006/relationships/oleObject" Target="../embeddings/oleObject38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1020.xml"/><Relationship Id="rId2" Type="http://schemas.openxmlformats.org/officeDocument/2006/relationships/tags" Target="../tags/tag101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022.xml"/><Relationship Id="rId7" Type="http://schemas.openxmlformats.org/officeDocument/2006/relationships/image" Target="../media/image6.emf"/><Relationship Id="rId2" Type="http://schemas.openxmlformats.org/officeDocument/2006/relationships/tags" Target="../tags/tag1021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3" Type="http://schemas.openxmlformats.org/officeDocument/2006/relationships/tags" Target="../tags/tag1034.xml"/><Relationship Id="rId18" Type="http://schemas.openxmlformats.org/officeDocument/2006/relationships/tags" Target="../tags/tag1039.xml"/><Relationship Id="rId26" Type="http://schemas.openxmlformats.org/officeDocument/2006/relationships/tags" Target="../tags/tag1047.xml"/><Relationship Id="rId39" Type="http://schemas.openxmlformats.org/officeDocument/2006/relationships/tags" Target="../tags/tag1060.xml"/><Relationship Id="rId3" Type="http://schemas.openxmlformats.org/officeDocument/2006/relationships/tags" Target="../tags/tag1024.xml"/><Relationship Id="rId21" Type="http://schemas.openxmlformats.org/officeDocument/2006/relationships/tags" Target="../tags/tag1042.xml"/><Relationship Id="rId34" Type="http://schemas.openxmlformats.org/officeDocument/2006/relationships/tags" Target="../tags/tag1055.xml"/><Relationship Id="rId42" Type="http://schemas.openxmlformats.org/officeDocument/2006/relationships/tags" Target="../tags/tag1063.xml"/><Relationship Id="rId47" Type="http://schemas.openxmlformats.org/officeDocument/2006/relationships/tags" Target="../tags/tag1068.xml"/><Relationship Id="rId50" Type="http://schemas.openxmlformats.org/officeDocument/2006/relationships/oleObject" Target="../embeddings/oleObject41.bin"/><Relationship Id="rId7" Type="http://schemas.openxmlformats.org/officeDocument/2006/relationships/tags" Target="../tags/tag1028.xml"/><Relationship Id="rId12" Type="http://schemas.openxmlformats.org/officeDocument/2006/relationships/tags" Target="../tags/tag1033.xml"/><Relationship Id="rId17" Type="http://schemas.openxmlformats.org/officeDocument/2006/relationships/tags" Target="../tags/tag1038.xml"/><Relationship Id="rId25" Type="http://schemas.openxmlformats.org/officeDocument/2006/relationships/tags" Target="../tags/tag1046.xml"/><Relationship Id="rId33" Type="http://schemas.openxmlformats.org/officeDocument/2006/relationships/tags" Target="../tags/tag1054.xml"/><Relationship Id="rId38" Type="http://schemas.openxmlformats.org/officeDocument/2006/relationships/tags" Target="../tags/tag1059.xml"/><Relationship Id="rId46" Type="http://schemas.openxmlformats.org/officeDocument/2006/relationships/tags" Target="../tags/tag1067.xml"/><Relationship Id="rId2" Type="http://schemas.openxmlformats.org/officeDocument/2006/relationships/tags" Target="../tags/tag1023.xml"/><Relationship Id="rId16" Type="http://schemas.openxmlformats.org/officeDocument/2006/relationships/tags" Target="../tags/tag1037.xml"/><Relationship Id="rId20" Type="http://schemas.openxmlformats.org/officeDocument/2006/relationships/tags" Target="../tags/tag1041.xml"/><Relationship Id="rId29" Type="http://schemas.openxmlformats.org/officeDocument/2006/relationships/tags" Target="../tags/tag1050.xml"/><Relationship Id="rId41" Type="http://schemas.openxmlformats.org/officeDocument/2006/relationships/tags" Target="../tags/tag1062.xml"/><Relationship Id="rId1" Type="http://schemas.openxmlformats.org/officeDocument/2006/relationships/vmlDrawing" Target="../drawings/vmlDrawing41.vml"/><Relationship Id="rId6" Type="http://schemas.openxmlformats.org/officeDocument/2006/relationships/tags" Target="../tags/tag1027.xml"/><Relationship Id="rId11" Type="http://schemas.openxmlformats.org/officeDocument/2006/relationships/tags" Target="../tags/tag1032.xml"/><Relationship Id="rId24" Type="http://schemas.openxmlformats.org/officeDocument/2006/relationships/tags" Target="../tags/tag1045.xml"/><Relationship Id="rId32" Type="http://schemas.openxmlformats.org/officeDocument/2006/relationships/tags" Target="../tags/tag1053.xml"/><Relationship Id="rId37" Type="http://schemas.openxmlformats.org/officeDocument/2006/relationships/tags" Target="../tags/tag1058.xml"/><Relationship Id="rId40" Type="http://schemas.openxmlformats.org/officeDocument/2006/relationships/tags" Target="../tags/tag1061.xml"/><Relationship Id="rId45" Type="http://schemas.openxmlformats.org/officeDocument/2006/relationships/tags" Target="../tags/tag1066.xml"/><Relationship Id="rId5" Type="http://schemas.openxmlformats.org/officeDocument/2006/relationships/tags" Target="../tags/tag1026.xml"/><Relationship Id="rId15" Type="http://schemas.openxmlformats.org/officeDocument/2006/relationships/tags" Target="../tags/tag1036.xml"/><Relationship Id="rId23" Type="http://schemas.openxmlformats.org/officeDocument/2006/relationships/tags" Target="../tags/tag1044.xml"/><Relationship Id="rId28" Type="http://schemas.openxmlformats.org/officeDocument/2006/relationships/tags" Target="../tags/tag1049.xml"/><Relationship Id="rId36" Type="http://schemas.openxmlformats.org/officeDocument/2006/relationships/tags" Target="../tags/tag1057.xml"/><Relationship Id="rId49" Type="http://schemas.openxmlformats.org/officeDocument/2006/relationships/notesSlide" Target="../notesSlides/notesSlide20.xml"/><Relationship Id="rId10" Type="http://schemas.openxmlformats.org/officeDocument/2006/relationships/tags" Target="../tags/tag1031.xml"/><Relationship Id="rId19" Type="http://schemas.openxmlformats.org/officeDocument/2006/relationships/tags" Target="../tags/tag1040.xml"/><Relationship Id="rId31" Type="http://schemas.openxmlformats.org/officeDocument/2006/relationships/tags" Target="../tags/tag1052.xml"/><Relationship Id="rId44" Type="http://schemas.openxmlformats.org/officeDocument/2006/relationships/tags" Target="../tags/tag1065.xml"/><Relationship Id="rId52" Type="http://schemas.openxmlformats.org/officeDocument/2006/relationships/chart" Target="../charts/chart26.xml"/><Relationship Id="rId4" Type="http://schemas.openxmlformats.org/officeDocument/2006/relationships/tags" Target="../tags/tag1025.xml"/><Relationship Id="rId9" Type="http://schemas.openxmlformats.org/officeDocument/2006/relationships/tags" Target="../tags/tag1030.xml"/><Relationship Id="rId14" Type="http://schemas.openxmlformats.org/officeDocument/2006/relationships/tags" Target="../tags/tag1035.xml"/><Relationship Id="rId22" Type="http://schemas.openxmlformats.org/officeDocument/2006/relationships/tags" Target="../tags/tag1043.xml"/><Relationship Id="rId27" Type="http://schemas.openxmlformats.org/officeDocument/2006/relationships/tags" Target="../tags/tag1048.xml"/><Relationship Id="rId30" Type="http://schemas.openxmlformats.org/officeDocument/2006/relationships/tags" Target="../tags/tag1051.xml"/><Relationship Id="rId35" Type="http://schemas.openxmlformats.org/officeDocument/2006/relationships/tags" Target="../tags/tag1056.xml"/><Relationship Id="rId43" Type="http://schemas.openxmlformats.org/officeDocument/2006/relationships/tags" Target="../tags/tag1064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1029.xml"/><Relationship Id="rId51" Type="http://schemas.openxmlformats.org/officeDocument/2006/relationships/image" Target="../media/image6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075.xml"/><Relationship Id="rId13" Type="http://schemas.openxmlformats.org/officeDocument/2006/relationships/tags" Target="../tags/tag1080.xml"/><Relationship Id="rId18" Type="http://schemas.openxmlformats.org/officeDocument/2006/relationships/tags" Target="../tags/tag1085.xml"/><Relationship Id="rId26" Type="http://schemas.openxmlformats.org/officeDocument/2006/relationships/tags" Target="../tags/tag1093.xml"/><Relationship Id="rId3" Type="http://schemas.openxmlformats.org/officeDocument/2006/relationships/tags" Target="../tags/tag1070.xml"/><Relationship Id="rId21" Type="http://schemas.openxmlformats.org/officeDocument/2006/relationships/tags" Target="../tags/tag1088.xml"/><Relationship Id="rId34" Type="http://schemas.openxmlformats.org/officeDocument/2006/relationships/image" Target="../media/image6.emf"/><Relationship Id="rId7" Type="http://schemas.openxmlformats.org/officeDocument/2006/relationships/tags" Target="../tags/tag1074.xml"/><Relationship Id="rId12" Type="http://schemas.openxmlformats.org/officeDocument/2006/relationships/tags" Target="../tags/tag1079.xml"/><Relationship Id="rId17" Type="http://schemas.openxmlformats.org/officeDocument/2006/relationships/tags" Target="../tags/tag1084.xml"/><Relationship Id="rId25" Type="http://schemas.openxmlformats.org/officeDocument/2006/relationships/tags" Target="../tags/tag1092.xml"/><Relationship Id="rId33" Type="http://schemas.openxmlformats.org/officeDocument/2006/relationships/oleObject" Target="../embeddings/oleObject42.bin"/><Relationship Id="rId2" Type="http://schemas.openxmlformats.org/officeDocument/2006/relationships/tags" Target="../tags/tag1069.xml"/><Relationship Id="rId16" Type="http://schemas.openxmlformats.org/officeDocument/2006/relationships/tags" Target="../tags/tag1083.xml"/><Relationship Id="rId20" Type="http://schemas.openxmlformats.org/officeDocument/2006/relationships/tags" Target="../tags/tag1087.xml"/><Relationship Id="rId29" Type="http://schemas.openxmlformats.org/officeDocument/2006/relationships/tags" Target="../tags/tag1096.xml"/><Relationship Id="rId1" Type="http://schemas.openxmlformats.org/officeDocument/2006/relationships/vmlDrawing" Target="../drawings/vmlDrawing42.vml"/><Relationship Id="rId6" Type="http://schemas.openxmlformats.org/officeDocument/2006/relationships/tags" Target="../tags/tag1073.xml"/><Relationship Id="rId11" Type="http://schemas.openxmlformats.org/officeDocument/2006/relationships/tags" Target="../tags/tag1078.xml"/><Relationship Id="rId24" Type="http://schemas.openxmlformats.org/officeDocument/2006/relationships/tags" Target="../tags/tag1091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1072.xml"/><Relationship Id="rId15" Type="http://schemas.openxmlformats.org/officeDocument/2006/relationships/tags" Target="../tags/tag1082.xml"/><Relationship Id="rId23" Type="http://schemas.openxmlformats.org/officeDocument/2006/relationships/tags" Target="../tags/tag1090.xml"/><Relationship Id="rId28" Type="http://schemas.openxmlformats.org/officeDocument/2006/relationships/tags" Target="../tags/tag1095.xml"/><Relationship Id="rId10" Type="http://schemas.openxmlformats.org/officeDocument/2006/relationships/tags" Target="../tags/tag1077.xml"/><Relationship Id="rId19" Type="http://schemas.openxmlformats.org/officeDocument/2006/relationships/tags" Target="../tags/tag1086.xml"/><Relationship Id="rId31" Type="http://schemas.openxmlformats.org/officeDocument/2006/relationships/tags" Target="../tags/tag1098.xml"/><Relationship Id="rId4" Type="http://schemas.openxmlformats.org/officeDocument/2006/relationships/tags" Target="../tags/tag1071.xml"/><Relationship Id="rId9" Type="http://schemas.openxmlformats.org/officeDocument/2006/relationships/tags" Target="../tags/tag1076.xml"/><Relationship Id="rId14" Type="http://schemas.openxmlformats.org/officeDocument/2006/relationships/tags" Target="../tags/tag1081.xml"/><Relationship Id="rId22" Type="http://schemas.openxmlformats.org/officeDocument/2006/relationships/tags" Target="../tags/tag1089.xml"/><Relationship Id="rId27" Type="http://schemas.openxmlformats.org/officeDocument/2006/relationships/tags" Target="../tags/tag1094.xml"/><Relationship Id="rId30" Type="http://schemas.openxmlformats.org/officeDocument/2006/relationships/tags" Target="../tags/tag1097.xml"/><Relationship Id="rId35" Type="http://schemas.openxmlformats.org/officeDocument/2006/relationships/chart" Target="../charts/chart2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.xml"/><Relationship Id="rId3" Type="http://schemas.openxmlformats.org/officeDocument/2006/relationships/tags" Target="../tags/tag1100.xml"/><Relationship Id="rId7" Type="http://schemas.openxmlformats.org/officeDocument/2006/relationships/image" Target="../media/image6.emf"/><Relationship Id="rId2" Type="http://schemas.openxmlformats.org/officeDocument/2006/relationships/tags" Target="../tags/tag1099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tags" Target="../tags/tag39.xml"/><Relationship Id="rId39" Type="http://schemas.openxmlformats.org/officeDocument/2006/relationships/tags" Target="../tags/tag52.xml"/><Relationship Id="rId21" Type="http://schemas.openxmlformats.org/officeDocument/2006/relationships/tags" Target="../tags/tag34.xml"/><Relationship Id="rId34" Type="http://schemas.openxmlformats.org/officeDocument/2006/relationships/tags" Target="../tags/tag47.xml"/><Relationship Id="rId42" Type="http://schemas.openxmlformats.org/officeDocument/2006/relationships/tags" Target="../tags/tag55.xml"/><Relationship Id="rId47" Type="http://schemas.openxmlformats.org/officeDocument/2006/relationships/tags" Target="../tags/tag60.xml"/><Relationship Id="rId50" Type="http://schemas.openxmlformats.org/officeDocument/2006/relationships/tags" Target="../tags/tag63.xml"/><Relationship Id="rId55" Type="http://schemas.openxmlformats.org/officeDocument/2006/relationships/tags" Target="../tags/tag68.xml"/><Relationship Id="rId63" Type="http://schemas.openxmlformats.org/officeDocument/2006/relationships/tags" Target="../tags/tag76.xml"/><Relationship Id="rId68" Type="http://schemas.openxmlformats.org/officeDocument/2006/relationships/tags" Target="../tags/tag81.xml"/><Relationship Id="rId76" Type="http://schemas.openxmlformats.org/officeDocument/2006/relationships/tags" Target="../tags/tag89.xml"/><Relationship Id="rId7" Type="http://schemas.openxmlformats.org/officeDocument/2006/relationships/tags" Target="../tags/tag20.xml"/><Relationship Id="rId71" Type="http://schemas.openxmlformats.org/officeDocument/2006/relationships/tags" Target="../tags/tag84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9" Type="http://schemas.openxmlformats.org/officeDocument/2006/relationships/tags" Target="../tags/tag42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32" Type="http://schemas.openxmlformats.org/officeDocument/2006/relationships/tags" Target="../tags/tag45.xml"/><Relationship Id="rId37" Type="http://schemas.openxmlformats.org/officeDocument/2006/relationships/tags" Target="../tags/tag50.xml"/><Relationship Id="rId40" Type="http://schemas.openxmlformats.org/officeDocument/2006/relationships/tags" Target="../tags/tag53.xml"/><Relationship Id="rId45" Type="http://schemas.openxmlformats.org/officeDocument/2006/relationships/tags" Target="../tags/tag58.xml"/><Relationship Id="rId53" Type="http://schemas.openxmlformats.org/officeDocument/2006/relationships/tags" Target="../tags/tag66.xml"/><Relationship Id="rId58" Type="http://schemas.openxmlformats.org/officeDocument/2006/relationships/tags" Target="../tags/tag71.xml"/><Relationship Id="rId66" Type="http://schemas.openxmlformats.org/officeDocument/2006/relationships/tags" Target="../tags/tag79.xml"/><Relationship Id="rId74" Type="http://schemas.openxmlformats.org/officeDocument/2006/relationships/tags" Target="../tags/tag87.xml"/><Relationship Id="rId79" Type="http://schemas.openxmlformats.org/officeDocument/2006/relationships/slideLayout" Target="../slideLayouts/slideLayout4.xml"/><Relationship Id="rId5" Type="http://schemas.openxmlformats.org/officeDocument/2006/relationships/tags" Target="../tags/tag18.xml"/><Relationship Id="rId61" Type="http://schemas.openxmlformats.org/officeDocument/2006/relationships/tags" Target="../tags/tag74.xml"/><Relationship Id="rId82" Type="http://schemas.openxmlformats.org/officeDocument/2006/relationships/image" Target="../media/image7.emf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31" Type="http://schemas.openxmlformats.org/officeDocument/2006/relationships/tags" Target="../tags/tag44.xml"/><Relationship Id="rId44" Type="http://schemas.openxmlformats.org/officeDocument/2006/relationships/tags" Target="../tags/tag57.xml"/><Relationship Id="rId52" Type="http://schemas.openxmlformats.org/officeDocument/2006/relationships/tags" Target="../tags/tag65.xml"/><Relationship Id="rId60" Type="http://schemas.openxmlformats.org/officeDocument/2006/relationships/tags" Target="../tags/tag73.xml"/><Relationship Id="rId65" Type="http://schemas.openxmlformats.org/officeDocument/2006/relationships/tags" Target="../tags/tag78.xml"/><Relationship Id="rId73" Type="http://schemas.openxmlformats.org/officeDocument/2006/relationships/tags" Target="../tags/tag86.xml"/><Relationship Id="rId78" Type="http://schemas.openxmlformats.org/officeDocument/2006/relationships/tags" Target="../tags/tag91.xml"/><Relationship Id="rId81" Type="http://schemas.openxmlformats.org/officeDocument/2006/relationships/oleObject" Target="../embeddings/oleObject8.bin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tags" Target="../tags/tag40.xml"/><Relationship Id="rId30" Type="http://schemas.openxmlformats.org/officeDocument/2006/relationships/tags" Target="../tags/tag43.xml"/><Relationship Id="rId35" Type="http://schemas.openxmlformats.org/officeDocument/2006/relationships/tags" Target="../tags/tag48.xml"/><Relationship Id="rId43" Type="http://schemas.openxmlformats.org/officeDocument/2006/relationships/tags" Target="../tags/tag56.xml"/><Relationship Id="rId48" Type="http://schemas.openxmlformats.org/officeDocument/2006/relationships/tags" Target="../tags/tag61.xml"/><Relationship Id="rId56" Type="http://schemas.openxmlformats.org/officeDocument/2006/relationships/tags" Target="../tags/tag69.xml"/><Relationship Id="rId64" Type="http://schemas.openxmlformats.org/officeDocument/2006/relationships/tags" Target="../tags/tag77.xml"/><Relationship Id="rId69" Type="http://schemas.openxmlformats.org/officeDocument/2006/relationships/tags" Target="../tags/tag82.xml"/><Relationship Id="rId77" Type="http://schemas.openxmlformats.org/officeDocument/2006/relationships/tags" Target="../tags/tag90.xml"/><Relationship Id="rId8" Type="http://schemas.openxmlformats.org/officeDocument/2006/relationships/tags" Target="../tags/tag21.xml"/><Relationship Id="rId51" Type="http://schemas.openxmlformats.org/officeDocument/2006/relationships/tags" Target="../tags/tag64.xml"/><Relationship Id="rId72" Type="http://schemas.openxmlformats.org/officeDocument/2006/relationships/tags" Target="../tags/tag85.xml"/><Relationship Id="rId80" Type="http://schemas.openxmlformats.org/officeDocument/2006/relationships/notesSlide" Target="../notesSlides/notesSlide2.xml"/><Relationship Id="rId3" Type="http://schemas.openxmlformats.org/officeDocument/2006/relationships/tags" Target="../tags/tag16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33" Type="http://schemas.openxmlformats.org/officeDocument/2006/relationships/tags" Target="../tags/tag46.xml"/><Relationship Id="rId38" Type="http://schemas.openxmlformats.org/officeDocument/2006/relationships/tags" Target="../tags/tag51.xml"/><Relationship Id="rId46" Type="http://schemas.openxmlformats.org/officeDocument/2006/relationships/tags" Target="../tags/tag59.xml"/><Relationship Id="rId59" Type="http://schemas.openxmlformats.org/officeDocument/2006/relationships/tags" Target="../tags/tag72.xml"/><Relationship Id="rId67" Type="http://schemas.openxmlformats.org/officeDocument/2006/relationships/tags" Target="../tags/tag80.xml"/><Relationship Id="rId20" Type="http://schemas.openxmlformats.org/officeDocument/2006/relationships/tags" Target="../tags/tag33.xml"/><Relationship Id="rId41" Type="http://schemas.openxmlformats.org/officeDocument/2006/relationships/tags" Target="../tags/tag54.xml"/><Relationship Id="rId54" Type="http://schemas.openxmlformats.org/officeDocument/2006/relationships/tags" Target="../tags/tag67.xml"/><Relationship Id="rId62" Type="http://schemas.openxmlformats.org/officeDocument/2006/relationships/tags" Target="../tags/tag75.xml"/><Relationship Id="rId70" Type="http://schemas.openxmlformats.org/officeDocument/2006/relationships/tags" Target="../tags/tag83.xml"/><Relationship Id="rId75" Type="http://schemas.openxmlformats.org/officeDocument/2006/relationships/tags" Target="../tags/tag88.xml"/><Relationship Id="rId83" Type="http://schemas.openxmlformats.org/officeDocument/2006/relationships/chart" Target="../charts/chart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9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tags" Target="../tags/tag41.xml"/><Relationship Id="rId36" Type="http://schemas.openxmlformats.org/officeDocument/2006/relationships/tags" Target="../tags/tag49.xml"/><Relationship Id="rId49" Type="http://schemas.openxmlformats.org/officeDocument/2006/relationships/tags" Target="../tags/tag62.xml"/><Relationship Id="rId57" Type="http://schemas.openxmlformats.org/officeDocument/2006/relationships/tags" Target="../tags/tag7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102.xml"/><Relationship Id="rId2" Type="http://schemas.openxmlformats.org/officeDocument/2006/relationships/tags" Target="../tags/tag110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104.xml"/><Relationship Id="rId7" Type="http://schemas.openxmlformats.org/officeDocument/2006/relationships/image" Target="../media/image6.emf"/><Relationship Id="rId2" Type="http://schemas.openxmlformats.org/officeDocument/2006/relationships/tags" Target="../tags/tag1103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111.xml"/><Relationship Id="rId13" Type="http://schemas.openxmlformats.org/officeDocument/2006/relationships/tags" Target="../tags/tag1116.xml"/><Relationship Id="rId18" Type="http://schemas.openxmlformats.org/officeDocument/2006/relationships/tags" Target="../tags/tag1121.xml"/><Relationship Id="rId26" Type="http://schemas.openxmlformats.org/officeDocument/2006/relationships/tags" Target="../tags/tag1129.xml"/><Relationship Id="rId39" Type="http://schemas.openxmlformats.org/officeDocument/2006/relationships/oleObject" Target="../embeddings/oleObject46.bin"/><Relationship Id="rId3" Type="http://schemas.openxmlformats.org/officeDocument/2006/relationships/tags" Target="../tags/tag1106.xml"/><Relationship Id="rId21" Type="http://schemas.openxmlformats.org/officeDocument/2006/relationships/tags" Target="../tags/tag1124.xml"/><Relationship Id="rId34" Type="http://schemas.openxmlformats.org/officeDocument/2006/relationships/tags" Target="../tags/tag1137.xml"/><Relationship Id="rId7" Type="http://schemas.openxmlformats.org/officeDocument/2006/relationships/tags" Target="../tags/tag1110.xml"/><Relationship Id="rId12" Type="http://schemas.openxmlformats.org/officeDocument/2006/relationships/tags" Target="../tags/tag1115.xml"/><Relationship Id="rId17" Type="http://schemas.openxmlformats.org/officeDocument/2006/relationships/tags" Target="../tags/tag1120.xml"/><Relationship Id="rId25" Type="http://schemas.openxmlformats.org/officeDocument/2006/relationships/tags" Target="../tags/tag1128.xml"/><Relationship Id="rId33" Type="http://schemas.openxmlformats.org/officeDocument/2006/relationships/tags" Target="../tags/tag1136.xml"/><Relationship Id="rId38" Type="http://schemas.openxmlformats.org/officeDocument/2006/relationships/slideLayout" Target="../slideLayouts/slideLayout2.xml"/><Relationship Id="rId2" Type="http://schemas.openxmlformats.org/officeDocument/2006/relationships/tags" Target="../tags/tag1105.xml"/><Relationship Id="rId16" Type="http://schemas.openxmlformats.org/officeDocument/2006/relationships/tags" Target="../tags/tag1119.xml"/><Relationship Id="rId20" Type="http://schemas.openxmlformats.org/officeDocument/2006/relationships/tags" Target="../tags/tag1123.xml"/><Relationship Id="rId29" Type="http://schemas.openxmlformats.org/officeDocument/2006/relationships/tags" Target="../tags/tag1132.xml"/><Relationship Id="rId41" Type="http://schemas.openxmlformats.org/officeDocument/2006/relationships/chart" Target="../charts/chart29.xml"/><Relationship Id="rId1" Type="http://schemas.openxmlformats.org/officeDocument/2006/relationships/vmlDrawing" Target="../drawings/vmlDrawing46.vml"/><Relationship Id="rId6" Type="http://schemas.openxmlformats.org/officeDocument/2006/relationships/tags" Target="../tags/tag1109.xml"/><Relationship Id="rId11" Type="http://schemas.openxmlformats.org/officeDocument/2006/relationships/tags" Target="../tags/tag1114.xml"/><Relationship Id="rId24" Type="http://schemas.openxmlformats.org/officeDocument/2006/relationships/tags" Target="../tags/tag1127.xml"/><Relationship Id="rId32" Type="http://schemas.openxmlformats.org/officeDocument/2006/relationships/tags" Target="../tags/tag1135.xml"/><Relationship Id="rId37" Type="http://schemas.openxmlformats.org/officeDocument/2006/relationships/tags" Target="../tags/tag1140.xml"/><Relationship Id="rId40" Type="http://schemas.openxmlformats.org/officeDocument/2006/relationships/image" Target="../media/image6.emf"/><Relationship Id="rId5" Type="http://schemas.openxmlformats.org/officeDocument/2006/relationships/tags" Target="../tags/tag1108.xml"/><Relationship Id="rId15" Type="http://schemas.openxmlformats.org/officeDocument/2006/relationships/tags" Target="../tags/tag1118.xml"/><Relationship Id="rId23" Type="http://schemas.openxmlformats.org/officeDocument/2006/relationships/tags" Target="../tags/tag1126.xml"/><Relationship Id="rId28" Type="http://schemas.openxmlformats.org/officeDocument/2006/relationships/tags" Target="../tags/tag1131.xml"/><Relationship Id="rId36" Type="http://schemas.openxmlformats.org/officeDocument/2006/relationships/tags" Target="../tags/tag1139.xml"/><Relationship Id="rId10" Type="http://schemas.openxmlformats.org/officeDocument/2006/relationships/tags" Target="../tags/tag1113.xml"/><Relationship Id="rId19" Type="http://schemas.openxmlformats.org/officeDocument/2006/relationships/tags" Target="../tags/tag1122.xml"/><Relationship Id="rId31" Type="http://schemas.openxmlformats.org/officeDocument/2006/relationships/tags" Target="../tags/tag1134.xml"/><Relationship Id="rId4" Type="http://schemas.openxmlformats.org/officeDocument/2006/relationships/tags" Target="../tags/tag1107.xml"/><Relationship Id="rId9" Type="http://schemas.openxmlformats.org/officeDocument/2006/relationships/tags" Target="../tags/tag1112.xml"/><Relationship Id="rId14" Type="http://schemas.openxmlformats.org/officeDocument/2006/relationships/tags" Target="../tags/tag1117.xml"/><Relationship Id="rId22" Type="http://schemas.openxmlformats.org/officeDocument/2006/relationships/tags" Target="../tags/tag1125.xml"/><Relationship Id="rId27" Type="http://schemas.openxmlformats.org/officeDocument/2006/relationships/tags" Target="../tags/tag1130.xml"/><Relationship Id="rId30" Type="http://schemas.openxmlformats.org/officeDocument/2006/relationships/tags" Target="../tags/tag1133.xml"/><Relationship Id="rId35" Type="http://schemas.openxmlformats.org/officeDocument/2006/relationships/tags" Target="../tags/tag1138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1147.xml"/><Relationship Id="rId13" Type="http://schemas.openxmlformats.org/officeDocument/2006/relationships/tags" Target="../tags/tag1152.xml"/><Relationship Id="rId18" Type="http://schemas.openxmlformats.org/officeDocument/2006/relationships/tags" Target="../tags/tag1157.xml"/><Relationship Id="rId26" Type="http://schemas.openxmlformats.org/officeDocument/2006/relationships/tags" Target="../tags/tag1165.xml"/><Relationship Id="rId3" Type="http://schemas.openxmlformats.org/officeDocument/2006/relationships/tags" Target="../tags/tag1142.xml"/><Relationship Id="rId21" Type="http://schemas.openxmlformats.org/officeDocument/2006/relationships/tags" Target="../tags/tag1160.xml"/><Relationship Id="rId34" Type="http://schemas.openxmlformats.org/officeDocument/2006/relationships/image" Target="../media/image6.emf"/><Relationship Id="rId7" Type="http://schemas.openxmlformats.org/officeDocument/2006/relationships/tags" Target="../tags/tag1146.xml"/><Relationship Id="rId12" Type="http://schemas.openxmlformats.org/officeDocument/2006/relationships/tags" Target="../tags/tag1151.xml"/><Relationship Id="rId17" Type="http://schemas.openxmlformats.org/officeDocument/2006/relationships/tags" Target="../tags/tag1156.xml"/><Relationship Id="rId25" Type="http://schemas.openxmlformats.org/officeDocument/2006/relationships/tags" Target="../tags/tag1164.xml"/><Relationship Id="rId33" Type="http://schemas.openxmlformats.org/officeDocument/2006/relationships/oleObject" Target="../embeddings/oleObject47.bin"/><Relationship Id="rId2" Type="http://schemas.openxmlformats.org/officeDocument/2006/relationships/tags" Target="../tags/tag1141.xml"/><Relationship Id="rId16" Type="http://schemas.openxmlformats.org/officeDocument/2006/relationships/tags" Target="../tags/tag1155.xml"/><Relationship Id="rId20" Type="http://schemas.openxmlformats.org/officeDocument/2006/relationships/tags" Target="../tags/tag1159.xml"/><Relationship Id="rId29" Type="http://schemas.openxmlformats.org/officeDocument/2006/relationships/tags" Target="../tags/tag1168.xml"/><Relationship Id="rId1" Type="http://schemas.openxmlformats.org/officeDocument/2006/relationships/vmlDrawing" Target="../drawings/vmlDrawing47.vml"/><Relationship Id="rId6" Type="http://schemas.openxmlformats.org/officeDocument/2006/relationships/tags" Target="../tags/tag1145.xml"/><Relationship Id="rId11" Type="http://schemas.openxmlformats.org/officeDocument/2006/relationships/tags" Target="../tags/tag1150.xml"/><Relationship Id="rId24" Type="http://schemas.openxmlformats.org/officeDocument/2006/relationships/tags" Target="../tags/tag1163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1144.xml"/><Relationship Id="rId15" Type="http://schemas.openxmlformats.org/officeDocument/2006/relationships/tags" Target="../tags/tag1154.xml"/><Relationship Id="rId23" Type="http://schemas.openxmlformats.org/officeDocument/2006/relationships/tags" Target="../tags/tag1162.xml"/><Relationship Id="rId28" Type="http://schemas.openxmlformats.org/officeDocument/2006/relationships/tags" Target="../tags/tag1167.xml"/><Relationship Id="rId10" Type="http://schemas.openxmlformats.org/officeDocument/2006/relationships/tags" Target="../tags/tag1149.xml"/><Relationship Id="rId19" Type="http://schemas.openxmlformats.org/officeDocument/2006/relationships/tags" Target="../tags/tag1158.xml"/><Relationship Id="rId31" Type="http://schemas.openxmlformats.org/officeDocument/2006/relationships/tags" Target="../tags/tag1170.xml"/><Relationship Id="rId4" Type="http://schemas.openxmlformats.org/officeDocument/2006/relationships/tags" Target="../tags/tag1143.xml"/><Relationship Id="rId9" Type="http://schemas.openxmlformats.org/officeDocument/2006/relationships/tags" Target="../tags/tag1148.xml"/><Relationship Id="rId14" Type="http://schemas.openxmlformats.org/officeDocument/2006/relationships/tags" Target="../tags/tag1153.xml"/><Relationship Id="rId22" Type="http://schemas.openxmlformats.org/officeDocument/2006/relationships/tags" Target="../tags/tag1161.xml"/><Relationship Id="rId27" Type="http://schemas.openxmlformats.org/officeDocument/2006/relationships/tags" Target="../tags/tag1166.xml"/><Relationship Id="rId30" Type="http://schemas.openxmlformats.org/officeDocument/2006/relationships/tags" Target="../tags/tag1169.xml"/><Relationship Id="rId35" Type="http://schemas.openxmlformats.org/officeDocument/2006/relationships/chart" Target="../charts/chart30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1.xml"/><Relationship Id="rId3" Type="http://schemas.openxmlformats.org/officeDocument/2006/relationships/tags" Target="../tags/tag1172.xml"/><Relationship Id="rId7" Type="http://schemas.openxmlformats.org/officeDocument/2006/relationships/image" Target="../media/image6.emf"/><Relationship Id="rId2" Type="http://schemas.openxmlformats.org/officeDocument/2006/relationships/tags" Target="../tags/tag1171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1174.xml"/><Relationship Id="rId2" Type="http://schemas.openxmlformats.org/officeDocument/2006/relationships/tags" Target="../tags/tag117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1176.xml"/><Relationship Id="rId7" Type="http://schemas.openxmlformats.org/officeDocument/2006/relationships/image" Target="../media/image6.emf"/><Relationship Id="rId2" Type="http://schemas.openxmlformats.org/officeDocument/2006/relationships/tags" Target="../tags/tag1175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3" Type="http://schemas.openxmlformats.org/officeDocument/2006/relationships/tags" Target="../tags/tag1188.xml"/><Relationship Id="rId18" Type="http://schemas.openxmlformats.org/officeDocument/2006/relationships/tags" Target="../tags/tag1193.xml"/><Relationship Id="rId26" Type="http://schemas.openxmlformats.org/officeDocument/2006/relationships/tags" Target="../tags/tag1201.xml"/><Relationship Id="rId39" Type="http://schemas.openxmlformats.org/officeDocument/2006/relationships/tags" Target="../tags/tag1214.xml"/><Relationship Id="rId21" Type="http://schemas.openxmlformats.org/officeDocument/2006/relationships/tags" Target="../tags/tag1196.xml"/><Relationship Id="rId34" Type="http://schemas.openxmlformats.org/officeDocument/2006/relationships/tags" Target="../tags/tag1209.xml"/><Relationship Id="rId42" Type="http://schemas.openxmlformats.org/officeDocument/2006/relationships/tags" Target="../tags/tag1217.xml"/><Relationship Id="rId47" Type="http://schemas.openxmlformats.org/officeDocument/2006/relationships/tags" Target="../tags/tag1222.xml"/><Relationship Id="rId50" Type="http://schemas.openxmlformats.org/officeDocument/2006/relationships/tags" Target="../tags/tag1225.xml"/><Relationship Id="rId55" Type="http://schemas.openxmlformats.org/officeDocument/2006/relationships/tags" Target="../tags/tag1230.xml"/><Relationship Id="rId63" Type="http://schemas.openxmlformats.org/officeDocument/2006/relationships/tags" Target="../tags/tag1238.xml"/><Relationship Id="rId68" Type="http://schemas.openxmlformats.org/officeDocument/2006/relationships/tags" Target="../tags/tag1243.xml"/><Relationship Id="rId76" Type="http://schemas.openxmlformats.org/officeDocument/2006/relationships/chart" Target="../charts/chart32.xml"/><Relationship Id="rId7" Type="http://schemas.openxmlformats.org/officeDocument/2006/relationships/tags" Target="../tags/tag1182.xml"/><Relationship Id="rId71" Type="http://schemas.openxmlformats.org/officeDocument/2006/relationships/tags" Target="../tags/tag1246.xml"/><Relationship Id="rId2" Type="http://schemas.openxmlformats.org/officeDocument/2006/relationships/tags" Target="../tags/tag1177.xml"/><Relationship Id="rId16" Type="http://schemas.openxmlformats.org/officeDocument/2006/relationships/tags" Target="../tags/tag1191.xml"/><Relationship Id="rId29" Type="http://schemas.openxmlformats.org/officeDocument/2006/relationships/tags" Target="../tags/tag1204.xml"/><Relationship Id="rId11" Type="http://schemas.openxmlformats.org/officeDocument/2006/relationships/tags" Target="../tags/tag1186.xml"/><Relationship Id="rId24" Type="http://schemas.openxmlformats.org/officeDocument/2006/relationships/tags" Target="../tags/tag1199.xml"/><Relationship Id="rId32" Type="http://schemas.openxmlformats.org/officeDocument/2006/relationships/tags" Target="../tags/tag1207.xml"/><Relationship Id="rId37" Type="http://schemas.openxmlformats.org/officeDocument/2006/relationships/tags" Target="../tags/tag1212.xml"/><Relationship Id="rId40" Type="http://schemas.openxmlformats.org/officeDocument/2006/relationships/tags" Target="../tags/tag1215.xml"/><Relationship Id="rId45" Type="http://schemas.openxmlformats.org/officeDocument/2006/relationships/tags" Target="../tags/tag1220.xml"/><Relationship Id="rId53" Type="http://schemas.openxmlformats.org/officeDocument/2006/relationships/tags" Target="../tags/tag1228.xml"/><Relationship Id="rId58" Type="http://schemas.openxmlformats.org/officeDocument/2006/relationships/tags" Target="../tags/tag1233.xml"/><Relationship Id="rId66" Type="http://schemas.openxmlformats.org/officeDocument/2006/relationships/tags" Target="../tags/tag1241.xml"/><Relationship Id="rId74" Type="http://schemas.openxmlformats.org/officeDocument/2006/relationships/oleObject" Target="../embeddings/oleObject51.bin"/><Relationship Id="rId5" Type="http://schemas.openxmlformats.org/officeDocument/2006/relationships/tags" Target="../tags/tag1180.xml"/><Relationship Id="rId15" Type="http://schemas.openxmlformats.org/officeDocument/2006/relationships/tags" Target="../tags/tag1190.xml"/><Relationship Id="rId23" Type="http://schemas.openxmlformats.org/officeDocument/2006/relationships/tags" Target="../tags/tag1198.xml"/><Relationship Id="rId28" Type="http://schemas.openxmlformats.org/officeDocument/2006/relationships/tags" Target="../tags/tag1203.xml"/><Relationship Id="rId36" Type="http://schemas.openxmlformats.org/officeDocument/2006/relationships/tags" Target="../tags/tag1211.xml"/><Relationship Id="rId49" Type="http://schemas.openxmlformats.org/officeDocument/2006/relationships/tags" Target="../tags/tag1224.xml"/><Relationship Id="rId57" Type="http://schemas.openxmlformats.org/officeDocument/2006/relationships/tags" Target="../tags/tag1232.xml"/><Relationship Id="rId61" Type="http://schemas.openxmlformats.org/officeDocument/2006/relationships/tags" Target="../tags/tag1236.xml"/><Relationship Id="rId10" Type="http://schemas.openxmlformats.org/officeDocument/2006/relationships/tags" Target="../tags/tag1185.xml"/><Relationship Id="rId19" Type="http://schemas.openxmlformats.org/officeDocument/2006/relationships/tags" Target="../tags/tag1194.xml"/><Relationship Id="rId31" Type="http://schemas.openxmlformats.org/officeDocument/2006/relationships/tags" Target="../tags/tag1206.xml"/><Relationship Id="rId44" Type="http://schemas.openxmlformats.org/officeDocument/2006/relationships/tags" Target="../tags/tag1219.xml"/><Relationship Id="rId52" Type="http://schemas.openxmlformats.org/officeDocument/2006/relationships/tags" Target="../tags/tag1227.xml"/><Relationship Id="rId60" Type="http://schemas.openxmlformats.org/officeDocument/2006/relationships/tags" Target="../tags/tag1235.xml"/><Relationship Id="rId65" Type="http://schemas.openxmlformats.org/officeDocument/2006/relationships/tags" Target="../tags/tag1240.xml"/><Relationship Id="rId73" Type="http://schemas.openxmlformats.org/officeDocument/2006/relationships/notesSlide" Target="../notesSlides/notesSlide25.xml"/><Relationship Id="rId4" Type="http://schemas.openxmlformats.org/officeDocument/2006/relationships/tags" Target="../tags/tag1179.xml"/><Relationship Id="rId9" Type="http://schemas.openxmlformats.org/officeDocument/2006/relationships/tags" Target="../tags/tag1184.xml"/><Relationship Id="rId14" Type="http://schemas.openxmlformats.org/officeDocument/2006/relationships/tags" Target="../tags/tag1189.xml"/><Relationship Id="rId22" Type="http://schemas.openxmlformats.org/officeDocument/2006/relationships/tags" Target="../tags/tag1197.xml"/><Relationship Id="rId27" Type="http://schemas.openxmlformats.org/officeDocument/2006/relationships/tags" Target="../tags/tag1202.xml"/><Relationship Id="rId30" Type="http://schemas.openxmlformats.org/officeDocument/2006/relationships/tags" Target="../tags/tag1205.xml"/><Relationship Id="rId35" Type="http://schemas.openxmlformats.org/officeDocument/2006/relationships/tags" Target="../tags/tag1210.xml"/><Relationship Id="rId43" Type="http://schemas.openxmlformats.org/officeDocument/2006/relationships/tags" Target="../tags/tag1218.xml"/><Relationship Id="rId48" Type="http://schemas.openxmlformats.org/officeDocument/2006/relationships/tags" Target="../tags/tag1223.xml"/><Relationship Id="rId56" Type="http://schemas.openxmlformats.org/officeDocument/2006/relationships/tags" Target="../tags/tag1231.xml"/><Relationship Id="rId64" Type="http://schemas.openxmlformats.org/officeDocument/2006/relationships/tags" Target="../tags/tag1239.xml"/><Relationship Id="rId69" Type="http://schemas.openxmlformats.org/officeDocument/2006/relationships/tags" Target="../tags/tag1244.xml"/><Relationship Id="rId8" Type="http://schemas.openxmlformats.org/officeDocument/2006/relationships/tags" Target="../tags/tag1183.xml"/><Relationship Id="rId51" Type="http://schemas.openxmlformats.org/officeDocument/2006/relationships/tags" Target="../tags/tag1226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1178.xml"/><Relationship Id="rId12" Type="http://schemas.openxmlformats.org/officeDocument/2006/relationships/tags" Target="../tags/tag1187.xml"/><Relationship Id="rId17" Type="http://schemas.openxmlformats.org/officeDocument/2006/relationships/tags" Target="../tags/tag1192.xml"/><Relationship Id="rId25" Type="http://schemas.openxmlformats.org/officeDocument/2006/relationships/tags" Target="../tags/tag1200.xml"/><Relationship Id="rId33" Type="http://schemas.openxmlformats.org/officeDocument/2006/relationships/tags" Target="../tags/tag1208.xml"/><Relationship Id="rId38" Type="http://schemas.openxmlformats.org/officeDocument/2006/relationships/tags" Target="../tags/tag1213.xml"/><Relationship Id="rId46" Type="http://schemas.openxmlformats.org/officeDocument/2006/relationships/tags" Target="../tags/tag1221.xml"/><Relationship Id="rId59" Type="http://schemas.openxmlformats.org/officeDocument/2006/relationships/tags" Target="../tags/tag1234.xml"/><Relationship Id="rId67" Type="http://schemas.openxmlformats.org/officeDocument/2006/relationships/tags" Target="../tags/tag1242.xml"/><Relationship Id="rId20" Type="http://schemas.openxmlformats.org/officeDocument/2006/relationships/tags" Target="../tags/tag1195.xml"/><Relationship Id="rId41" Type="http://schemas.openxmlformats.org/officeDocument/2006/relationships/tags" Target="../tags/tag1216.xml"/><Relationship Id="rId54" Type="http://schemas.openxmlformats.org/officeDocument/2006/relationships/tags" Target="../tags/tag1229.xml"/><Relationship Id="rId62" Type="http://schemas.openxmlformats.org/officeDocument/2006/relationships/tags" Target="../tags/tag1237.xml"/><Relationship Id="rId70" Type="http://schemas.openxmlformats.org/officeDocument/2006/relationships/tags" Target="../tags/tag1245.xml"/><Relationship Id="rId75" Type="http://schemas.openxmlformats.org/officeDocument/2006/relationships/image" Target="../media/image6.emf"/><Relationship Id="rId1" Type="http://schemas.openxmlformats.org/officeDocument/2006/relationships/vmlDrawing" Target="../drawings/vmlDrawing51.vml"/><Relationship Id="rId6" Type="http://schemas.openxmlformats.org/officeDocument/2006/relationships/tags" Target="../tags/tag1181.xml"/></Relationships>
</file>

<file path=ppt/slides/_rels/slide48.xml.rels><?xml version="1.0" encoding="UTF-8" standalone="yes"?>
<Relationships xmlns="http://schemas.openxmlformats.org/package/2006/relationships"><Relationship Id="rId13" Type="http://schemas.openxmlformats.org/officeDocument/2006/relationships/tags" Target="../tags/tag1258.xml"/><Relationship Id="rId18" Type="http://schemas.openxmlformats.org/officeDocument/2006/relationships/tags" Target="../tags/tag1263.xml"/><Relationship Id="rId26" Type="http://schemas.openxmlformats.org/officeDocument/2006/relationships/tags" Target="../tags/tag1271.xml"/><Relationship Id="rId39" Type="http://schemas.openxmlformats.org/officeDocument/2006/relationships/tags" Target="../tags/tag1284.xml"/><Relationship Id="rId3" Type="http://schemas.openxmlformats.org/officeDocument/2006/relationships/tags" Target="../tags/tag1248.xml"/><Relationship Id="rId21" Type="http://schemas.openxmlformats.org/officeDocument/2006/relationships/tags" Target="../tags/tag1266.xml"/><Relationship Id="rId34" Type="http://schemas.openxmlformats.org/officeDocument/2006/relationships/tags" Target="../tags/tag1279.xml"/><Relationship Id="rId42" Type="http://schemas.openxmlformats.org/officeDocument/2006/relationships/tags" Target="../tags/tag1287.xml"/><Relationship Id="rId47" Type="http://schemas.openxmlformats.org/officeDocument/2006/relationships/notesSlide" Target="../notesSlides/notesSlide26.xml"/><Relationship Id="rId50" Type="http://schemas.openxmlformats.org/officeDocument/2006/relationships/chart" Target="../charts/chart33.xml"/><Relationship Id="rId7" Type="http://schemas.openxmlformats.org/officeDocument/2006/relationships/tags" Target="../tags/tag1252.xml"/><Relationship Id="rId12" Type="http://schemas.openxmlformats.org/officeDocument/2006/relationships/tags" Target="../tags/tag1257.xml"/><Relationship Id="rId17" Type="http://schemas.openxmlformats.org/officeDocument/2006/relationships/tags" Target="../tags/tag1262.xml"/><Relationship Id="rId25" Type="http://schemas.openxmlformats.org/officeDocument/2006/relationships/tags" Target="../tags/tag1270.xml"/><Relationship Id="rId33" Type="http://schemas.openxmlformats.org/officeDocument/2006/relationships/tags" Target="../tags/tag1278.xml"/><Relationship Id="rId38" Type="http://schemas.openxmlformats.org/officeDocument/2006/relationships/tags" Target="../tags/tag1283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1247.xml"/><Relationship Id="rId16" Type="http://schemas.openxmlformats.org/officeDocument/2006/relationships/tags" Target="../tags/tag1261.xml"/><Relationship Id="rId20" Type="http://schemas.openxmlformats.org/officeDocument/2006/relationships/tags" Target="../tags/tag1265.xml"/><Relationship Id="rId29" Type="http://schemas.openxmlformats.org/officeDocument/2006/relationships/tags" Target="../tags/tag1274.xml"/><Relationship Id="rId41" Type="http://schemas.openxmlformats.org/officeDocument/2006/relationships/tags" Target="../tags/tag1286.xml"/><Relationship Id="rId1" Type="http://schemas.openxmlformats.org/officeDocument/2006/relationships/vmlDrawing" Target="../drawings/vmlDrawing52.vml"/><Relationship Id="rId6" Type="http://schemas.openxmlformats.org/officeDocument/2006/relationships/tags" Target="../tags/tag1251.xml"/><Relationship Id="rId11" Type="http://schemas.openxmlformats.org/officeDocument/2006/relationships/tags" Target="../tags/tag1256.xml"/><Relationship Id="rId24" Type="http://schemas.openxmlformats.org/officeDocument/2006/relationships/tags" Target="../tags/tag1269.xml"/><Relationship Id="rId32" Type="http://schemas.openxmlformats.org/officeDocument/2006/relationships/tags" Target="../tags/tag1277.xml"/><Relationship Id="rId37" Type="http://schemas.openxmlformats.org/officeDocument/2006/relationships/tags" Target="../tags/tag1282.xml"/><Relationship Id="rId40" Type="http://schemas.openxmlformats.org/officeDocument/2006/relationships/tags" Target="../tags/tag1285.xml"/><Relationship Id="rId45" Type="http://schemas.openxmlformats.org/officeDocument/2006/relationships/tags" Target="../tags/tag1290.xml"/><Relationship Id="rId5" Type="http://schemas.openxmlformats.org/officeDocument/2006/relationships/tags" Target="../tags/tag1250.xml"/><Relationship Id="rId15" Type="http://schemas.openxmlformats.org/officeDocument/2006/relationships/tags" Target="../tags/tag1260.xml"/><Relationship Id="rId23" Type="http://schemas.openxmlformats.org/officeDocument/2006/relationships/tags" Target="../tags/tag1268.xml"/><Relationship Id="rId28" Type="http://schemas.openxmlformats.org/officeDocument/2006/relationships/tags" Target="../tags/tag1273.xml"/><Relationship Id="rId36" Type="http://schemas.openxmlformats.org/officeDocument/2006/relationships/tags" Target="../tags/tag1281.xml"/><Relationship Id="rId49" Type="http://schemas.openxmlformats.org/officeDocument/2006/relationships/image" Target="../media/image6.emf"/><Relationship Id="rId10" Type="http://schemas.openxmlformats.org/officeDocument/2006/relationships/tags" Target="../tags/tag1255.xml"/><Relationship Id="rId19" Type="http://schemas.openxmlformats.org/officeDocument/2006/relationships/tags" Target="../tags/tag1264.xml"/><Relationship Id="rId31" Type="http://schemas.openxmlformats.org/officeDocument/2006/relationships/tags" Target="../tags/tag1276.xml"/><Relationship Id="rId44" Type="http://schemas.openxmlformats.org/officeDocument/2006/relationships/tags" Target="../tags/tag1289.xml"/><Relationship Id="rId4" Type="http://schemas.openxmlformats.org/officeDocument/2006/relationships/tags" Target="../tags/tag1249.xml"/><Relationship Id="rId9" Type="http://schemas.openxmlformats.org/officeDocument/2006/relationships/tags" Target="../tags/tag1254.xml"/><Relationship Id="rId14" Type="http://schemas.openxmlformats.org/officeDocument/2006/relationships/tags" Target="../tags/tag1259.xml"/><Relationship Id="rId22" Type="http://schemas.openxmlformats.org/officeDocument/2006/relationships/tags" Target="../tags/tag1267.xml"/><Relationship Id="rId27" Type="http://schemas.openxmlformats.org/officeDocument/2006/relationships/tags" Target="../tags/tag1272.xml"/><Relationship Id="rId30" Type="http://schemas.openxmlformats.org/officeDocument/2006/relationships/tags" Target="../tags/tag1275.xml"/><Relationship Id="rId35" Type="http://schemas.openxmlformats.org/officeDocument/2006/relationships/tags" Target="../tags/tag1280.xml"/><Relationship Id="rId43" Type="http://schemas.openxmlformats.org/officeDocument/2006/relationships/tags" Target="../tags/tag1288.xml"/><Relationship Id="rId48" Type="http://schemas.openxmlformats.org/officeDocument/2006/relationships/oleObject" Target="../embeddings/oleObject52.bin"/><Relationship Id="rId8" Type="http://schemas.openxmlformats.org/officeDocument/2006/relationships/tags" Target="../tags/tag1253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1297.xml"/><Relationship Id="rId13" Type="http://schemas.openxmlformats.org/officeDocument/2006/relationships/tags" Target="../tags/tag1302.xml"/><Relationship Id="rId18" Type="http://schemas.openxmlformats.org/officeDocument/2006/relationships/tags" Target="../tags/tag1307.xml"/><Relationship Id="rId26" Type="http://schemas.openxmlformats.org/officeDocument/2006/relationships/tags" Target="../tags/tag1315.xml"/><Relationship Id="rId3" Type="http://schemas.openxmlformats.org/officeDocument/2006/relationships/tags" Target="../tags/tag1292.xml"/><Relationship Id="rId21" Type="http://schemas.openxmlformats.org/officeDocument/2006/relationships/tags" Target="../tags/tag1310.xml"/><Relationship Id="rId34" Type="http://schemas.openxmlformats.org/officeDocument/2006/relationships/oleObject" Target="../embeddings/oleObject53.bin"/><Relationship Id="rId7" Type="http://schemas.openxmlformats.org/officeDocument/2006/relationships/tags" Target="../tags/tag1296.xml"/><Relationship Id="rId12" Type="http://schemas.openxmlformats.org/officeDocument/2006/relationships/tags" Target="../tags/tag1301.xml"/><Relationship Id="rId17" Type="http://schemas.openxmlformats.org/officeDocument/2006/relationships/tags" Target="../tags/tag1306.xml"/><Relationship Id="rId25" Type="http://schemas.openxmlformats.org/officeDocument/2006/relationships/tags" Target="../tags/tag1314.xml"/><Relationship Id="rId33" Type="http://schemas.openxmlformats.org/officeDocument/2006/relationships/notesSlide" Target="../notesSlides/notesSlide27.xml"/><Relationship Id="rId2" Type="http://schemas.openxmlformats.org/officeDocument/2006/relationships/tags" Target="../tags/tag1291.xml"/><Relationship Id="rId16" Type="http://schemas.openxmlformats.org/officeDocument/2006/relationships/tags" Target="../tags/tag1305.xml"/><Relationship Id="rId20" Type="http://schemas.openxmlformats.org/officeDocument/2006/relationships/tags" Target="../tags/tag1309.xml"/><Relationship Id="rId29" Type="http://schemas.openxmlformats.org/officeDocument/2006/relationships/tags" Target="../tags/tag1318.xml"/><Relationship Id="rId1" Type="http://schemas.openxmlformats.org/officeDocument/2006/relationships/vmlDrawing" Target="../drawings/vmlDrawing53.vml"/><Relationship Id="rId6" Type="http://schemas.openxmlformats.org/officeDocument/2006/relationships/tags" Target="../tags/tag1295.xml"/><Relationship Id="rId11" Type="http://schemas.openxmlformats.org/officeDocument/2006/relationships/tags" Target="../tags/tag1300.xml"/><Relationship Id="rId24" Type="http://schemas.openxmlformats.org/officeDocument/2006/relationships/tags" Target="../tags/tag1313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1294.xml"/><Relationship Id="rId15" Type="http://schemas.openxmlformats.org/officeDocument/2006/relationships/tags" Target="../tags/tag1304.xml"/><Relationship Id="rId23" Type="http://schemas.openxmlformats.org/officeDocument/2006/relationships/tags" Target="../tags/tag1312.xml"/><Relationship Id="rId28" Type="http://schemas.openxmlformats.org/officeDocument/2006/relationships/tags" Target="../tags/tag1317.xml"/><Relationship Id="rId36" Type="http://schemas.openxmlformats.org/officeDocument/2006/relationships/chart" Target="../charts/chart34.xml"/><Relationship Id="rId10" Type="http://schemas.openxmlformats.org/officeDocument/2006/relationships/tags" Target="../tags/tag1299.xml"/><Relationship Id="rId19" Type="http://schemas.openxmlformats.org/officeDocument/2006/relationships/tags" Target="../tags/tag1308.xml"/><Relationship Id="rId31" Type="http://schemas.openxmlformats.org/officeDocument/2006/relationships/tags" Target="../tags/tag1320.xml"/><Relationship Id="rId4" Type="http://schemas.openxmlformats.org/officeDocument/2006/relationships/tags" Target="../tags/tag1293.xml"/><Relationship Id="rId9" Type="http://schemas.openxmlformats.org/officeDocument/2006/relationships/tags" Target="../tags/tag1298.xml"/><Relationship Id="rId14" Type="http://schemas.openxmlformats.org/officeDocument/2006/relationships/tags" Target="../tags/tag1303.xml"/><Relationship Id="rId22" Type="http://schemas.openxmlformats.org/officeDocument/2006/relationships/tags" Target="../tags/tag1311.xml"/><Relationship Id="rId27" Type="http://schemas.openxmlformats.org/officeDocument/2006/relationships/tags" Target="../tags/tag1316.xml"/><Relationship Id="rId30" Type="http://schemas.openxmlformats.org/officeDocument/2006/relationships/tags" Target="../tags/tag1319.xml"/><Relationship Id="rId35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3.xml"/><Relationship Id="rId7" Type="http://schemas.openxmlformats.org/officeDocument/2006/relationships/image" Target="../media/image1.emf"/><Relationship Id="rId2" Type="http://schemas.openxmlformats.org/officeDocument/2006/relationships/tags" Target="../tags/tag9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.xml"/><Relationship Id="rId3" Type="http://schemas.openxmlformats.org/officeDocument/2006/relationships/tags" Target="../tags/tag1322.xml"/><Relationship Id="rId7" Type="http://schemas.openxmlformats.org/officeDocument/2006/relationships/image" Target="../media/image6.emf"/><Relationship Id="rId2" Type="http://schemas.openxmlformats.org/officeDocument/2006/relationships/tags" Target="../tags/tag1321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1329.xml"/><Relationship Id="rId13" Type="http://schemas.openxmlformats.org/officeDocument/2006/relationships/tags" Target="../tags/tag1334.xml"/><Relationship Id="rId18" Type="http://schemas.openxmlformats.org/officeDocument/2006/relationships/tags" Target="../tags/tag1339.xml"/><Relationship Id="rId26" Type="http://schemas.openxmlformats.org/officeDocument/2006/relationships/tags" Target="../tags/tag1347.xml"/><Relationship Id="rId3" Type="http://schemas.openxmlformats.org/officeDocument/2006/relationships/tags" Target="../tags/tag1324.xml"/><Relationship Id="rId21" Type="http://schemas.openxmlformats.org/officeDocument/2006/relationships/tags" Target="../tags/tag1342.xml"/><Relationship Id="rId34" Type="http://schemas.openxmlformats.org/officeDocument/2006/relationships/oleObject" Target="../embeddings/oleObject55.bin"/><Relationship Id="rId7" Type="http://schemas.openxmlformats.org/officeDocument/2006/relationships/tags" Target="../tags/tag1328.xml"/><Relationship Id="rId12" Type="http://schemas.openxmlformats.org/officeDocument/2006/relationships/tags" Target="../tags/tag1333.xml"/><Relationship Id="rId17" Type="http://schemas.openxmlformats.org/officeDocument/2006/relationships/tags" Target="../tags/tag1338.xml"/><Relationship Id="rId25" Type="http://schemas.openxmlformats.org/officeDocument/2006/relationships/tags" Target="../tags/tag1346.xml"/><Relationship Id="rId33" Type="http://schemas.openxmlformats.org/officeDocument/2006/relationships/notesSlide" Target="../notesSlides/notesSlide29.xml"/><Relationship Id="rId2" Type="http://schemas.openxmlformats.org/officeDocument/2006/relationships/tags" Target="../tags/tag1323.xml"/><Relationship Id="rId16" Type="http://schemas.openxmlformats.org/officeDocument/2006/relationships/tags" Target="../tags/tag1337.xml"/><Relationship Id="rId20" Type="http://schemas.openxmlformats.org/officeDocument/2006/relationships/tags" Target="../tags/tag1341.xml"/><Relationship Id="rId29" Type="http://schemas.openxmlformats.org/officeDocument/2006/relationships/tags" Target="../tags/tag1350.xml"/><Relationship Id="rId1" Type="http://schemas.openxmlformats.org/officeDocument/2006/relationships/vmlDrawing" Target="../drawings/vmlDrawing55.vml"/><Relationship Id="rId6" Type="http://schemas.openxmlformats.org/officeDocument/2006/relationships/tags" Target="../tags/tag1327.xml"/><Relationship Id="rId11" Type="http://schemas.openxmlformats.org/officeDocument/2006/relationships/tags" Target="../tags/tag1332.xml"/><Relationship Id="rId24" Type="http://schemas.openxmlformats.org/officeDocument/2006/relationships/tags" Target="../tags/tag1345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1326.xml"/><Relationship Id="rId15" Type="http://schemas.openxmlformats.org/officeDocument/2006/relationships/tags" Target="../tags/tag1336.xml"/><Relationship Id="rId23" Type="http://schemas.openxmlformats.org/officeDocument/2006/relationships/tags" Target="../tags/tag1344.xml"/><Relationship Id="rId28" Type="http://schemas.openxmlformats.org/officeDocument/2006/relationships/tags" Target="../tags/tag1349.xml"/><Relationship Id="rId36" Type="http://schemas.openxmlformats.org/officeDocument/2006/relationships/chart" Target="../charts/chart36.xml"/><Relationship Id="rId10" Type="http://schemas.openxmlformats.org/officeDocument/2006/relationships/tags" Target="../tags/tag1331.xml"/><Relationship Id="rId19" Type="http://schemas.openxmlformats.org/officeDocument/2006/relationships/tags" Target="../tags/tag1340.xml"/><Relationship Id="rId31" Type="http://schemas.openxmlformats.org/officeDocument/2006/relationships/tags" Target="../tags/tag1352.xml"/><Relationship Id="rId4" Type="http://schemas.openxmlformats.org/officeDocument/2006/relationships/tags" Target="../tags/tag1325.xml"/><Relationship Id="rId9" Type="http://schemas.openxmlformats.org/officeDocument/2006/relationships/tags" Target="../tags/tag1330.xml"/><Relationship Id="rId14" Type="http://schemas.openxmlformats.org/officeDocument/2006/relationships/tags" Target="../tags/tag1335.xml"/><Relationship Id="rId22" Type="http://schemas.openxmlformats.org/officeDocument/2006/relationships/tags" Target="../tags/tag1343.xml"/><Relationship Id="rId27" Type="http://schemas.openxmlformats.org/officeDocument/2006/relationships/tags" Target="../tags/tag1348.xml"/><Relationship Id="rId30" Type="http://schemas.openxmlformats.org/officeDocument/2006/relationships/tags" Target="../tags/tag1351.xml"/><Relationship Id="rId35" Type="http://schemas.openxmlformats.org/officeDocument/2006/relationships/image" Target="../media/image6.emf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7.xml"/><Relationship Id="rId3" Type="http://schemas.openxmlformats.org/officeDocument/2006/relationships/tags" Target="../tags/tag1354.xml"/><Relationship Id="rId7" Type="http://schemas.openxmlformats.org/officeDocument/2006/relationships/image" Target="../media/image6.emf"/><Relationship Id="rId2" Type="http://schemas.openxmlformats.org/officeDocument/2006/relationships/tags" Target="../tags/tag1353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1361.xml"/><Relationship Id="rId13" Type="http://schemas.openxmlformats.org/officeDocument/2006/relationships/tags" Target="../tags/tag1366.xml"/><Relationship Id="rId18" Type="http://schemas.openxmlformats.org/officeDocument/2006/relationships/tags" Target="../tags/tag1371.xml"/><Relationship Id="rId26" Type="http://schemas.openxmlformats.org/officeDocument/2006/relationships/tags" Target="../tags/tag1379.xml"/><Relationship Id="rId3" Type="http://schemas.openxmlformats.org/officeDocument/2006/relationships/tags" Target="../tags/tag1356.xml"/><Relationship Id="rId21" Type="http://schemas.openxmlformats.org/officeDocument/2006/relationships/tags" Target="../tags/tag1374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1360.xml"/><Relationship Id="rId12" Type="http://schemas.openxmlformats.org/officeDocument/2006/relationships/tags" Target="../tags/tag1365.xml"/><Relationship Id="rId17" Type="http://schemas.openxmlformats.org/officeDocument/2006/relationships/tags" Target="../tags/tag1370.xml"/><Relationship Id="rId25" Type="http://schemas.openxmlformats.org/officeDocument/2006/relationships/tags" Target="../tags/tag1378.xml"/><Relationship Id="rId33" Type="http://schemas.openxmlformats.org/officeDocument/2006/relationships/tags" Target="../tags/tag1386.xml"/><Relationship Id="rId38" Type="http://schemas.openxmlformats.org/officeDocument/2006/relationships/comments" Target="../comments/comment4.xml"/><Relationship Id="rId2" Type="http://schemas.openxmlformats.org/officeDocument/2006/relationships/tags" Target="../tags/tag1355.xml"/><Relationship Id="rId16" Type="http://schemas.openxmlformats.org/officeDocument/2006/relationships/tags" Target="../tags/tag1369.xml"/><Relationship Id="rId20" Type="http://schemas.openxmlformats.org/officeDocument/2006/relationships/tags" Target="../tags/tag1373.xml"/><Relationship Id="rId29" Type="http://schemas.openxmlformats.org/officeDocument/2006/relationships/tags" Target="../tags/tag1382.xml"/><Relationship Id="rId1" Type="http://schemas.openxmlformats.org/officeDocument/2006/relationships/vmlDrawing" Target="../drawings/vmlDrawing57.vml"/><Relationship Id="rId6" Type="http://schemas.openxmlformats.org/officeDocument/2006/relationships/tags" Target="../tags/tag1359.xml"/><Relationship Id="rId11" Type="http://schemas.openxmlformats.org/officeDocument/2006/relationships/tags" Target="../tags/tag1364.xml"/><Relationship Id="rId24" Type="http://schemas.openxmlformats.org/officeDocument/2006/relationships/tags" Target="../tags/tag1377.xml"/><Relationship Id="rId32" Type="http://schemas.openxmlformats.org/officeDocument/2006/relationships/tags" Target="../tags/tag1385.xml"/><Relationship Id="rId37" Type="http://schemas.openxmlformats.org/officeDocument/2006/relationships/chart" Target="../charts/chart38.xml"/><Relationship Id="rId5" Type="http://schemas.openxmlformats.org/officeDocument/2006/relationships/tags" Target="../tags/tag1358.xml"/><Relationship Id="rId15" Type="http://schemas.openxmlformats.org/officeDocument/2006/relationships/tags" Target="../tags/tag1368.xml"/><Relationship Id="rId23" Type="http://schemas.openxmlformats.org/officeDocument/2006/relationships/tags" Target="../tags/tag1376.xml"/><Relationship Id="rId28" Type="http://schemas.openxmlformats.org/officeDocument/2006/relationships/tags" Target="../tags/tag1381.xml"/><Relationship Id="rId36" Type="http://schemas.openxmlformats.org/officeDocument/2006/relationships/image" Target="../media/image6.emf"/><Relationship Id="rId10" Type="http://schemas.openxmlformats.org/officeDocument/2006/relationships/tags" Target="../tags/tag1363.xml"/><Relationship Id="rId19" Type="http://schemas.openxmlformats.org/officeDocument/2006/relationships/tags" Target="../tags/tag1372.xml"/><Relationship Id="rId31" Type="http://schemas.openxmlformats.org/officeDocument/2006/relationships/tags" Target="../tags/tag1384.xml"/><Relationship Id="rId4" Type="http://schemas.openxmlformats.org/officeDocument/2006/relationships/tags" Target="../tags/tag1357.xml"/><Relationship Id="rId9" Type="http://schemas.openxmlformats.org/officeDocument/2006/relationships/tags" Target="../tags/tag1362.xml"/><Relationship Id="rId14" Type="http://schemas.openxmlformats.org/officeDocument/2006/relationships/tags" Target="../tags/tag1367.xml"/><Relationship Id="rId22" Type="http://schemas.openxmlformats.org/officeDocument/2006/relationships/tags" Target="../tags/tag1375.xml"/><Relationship Id="rId27" Type="http://schemas.openxmlformats.org/officeDocument/2006/relationships/tags" Target="../tags/tag1380.xml"/><Relationship Id="rId30" Type="http://schemas.openxmlformats.org/officeDocument/2006/relationships/tags" Target="../tags/tag1383.xml"/><Relationship Id="rId35" Type="http://schemas.openxmlformats.org/officeDocument/2006/relationships/oleObject" Target="../embeddings/oleObject57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1388.xml"/><Relationship Id="rId2" Type="http://schemas.openxmlformats.org/officeDocument/2006/relationships/tags" Target="../tags/tag138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8.bin"/><Relationship Id="rId4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1390.xml"/><Relationship Id="rId7" Type="http://schemas.openxmlformats.org/officeDocument/2006/relationships/image" Target="../media/image6.emf"/><Relationship Id="rId2" Type="http://schemas.openxmlformats.org/officeDocument/2006/relationships/tags" Target="../tags/tag1389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notesSlide" Target="../notesSlides/notesSlide31.xml"/><Relationship Id="rId4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3" Type="http://schemas.openxmlformats.org/officeDocument/2006/relationships/tags" Target="../tags/tag1402.xml"/><Relationship Id="rId18" Type="http://schemas.openxmlformats.org/officeDocument/2006/relationships/tags" Target="../tags/tag1407.xml"/><Relationship Id="rId26" Type="http://schemas.openxmlformats.org/officeDocument/2006/relationships/tags" Target="../tags/tag1415.xml"/><Relationship Id="rId39" Type="http://schemas.openxmlformats.org/officeDocument/2006/relationships/tags" Target="../tags/tag1428.xml"/><Relationship Id="rId21" Type="http://schemas.openxmlformats.org/officeDocument/2006/relationships/tags" Target="../tags/tag1410.xml"/><Relationship Id="rId34" Type="http://schemas.openxmlformats.org/officeDocument/2006/relationships/tags" Target="../tags/tag1423.xml"/><Relationship Id="rId42" Type="http://schemas.openxmlformats.org/officeDocument/2006/relationships/tags" Target="../tags/tag1431.xml"/><Relationship Id="rId47" Type="http://schemas.openxmlformats.org/officeDocument/2006/relationships/tags" Target="../tags/tag1436.xml"/><Relationship Id="rId50" Type="http://schemas.openxmlformats.org/officeDocument/2006/relationships/tags" Target="../tags/tag1439.xml"/><Relationship Id="rId55" Type="http://schemas.openxmlformats.org/officeDocument/2006/relationships/tags" Target="../tags/tag1444.xml"/><Relationship Id="rId63" Type="http://schemas.openxmlformats.org/officeDocument/2006/relationships/tags" Target="../tags/tag1452.xml"/><Relationship Id="rId68" Type="http://schemas.openxmlformats.org/officeDocument/2006/relationships/chart" Target="../charts/chart39.xml"/><Relationship Id="rId7" Type="http://schemas.openxmlformats.org/officeDocument/2006/relationships/tags" Target="../tags/tag1396.xml"/><Relationship Id="rId2" Type="http://schemas.openxmlformats.org/officeDocument/2006/relationships/tags" Target="../tags/tag1391.xml"/><Relationship Id="rId16" Type="http://schemas.openxmlformats.org/officeDocument/2006/relationships/tags" Target="../tags/tag1405.xml"/><Relationship Id="rId29" Type="http://schemas.openxmlformats.org/officeDocument/2006/relationships/tags" Target="../tags/tag1418.xml"/><Relationship Id="rId1" Type="http://schemas.openxmlformats.org/officeDocument/2006/relationships/vmlDrawing" Target="../drawings/vmlDrawing60.vml"/><Relationship Id="rId6" Type="http://schemas.openxmlformats.org/officeDocument/2006/relationships/tags" Target="../tags/tag1395.xml"/><Relationship Id="rId11" Type="http://schemas.openxmlformats.org/officeDocument/2006/relationships/tags" Target="../tags/tag1400.xml"/><Relationship Id="rId24" Type="http://schemas.openxmlformats.org/officeDocument/2006/relationships/tags" Target="../tags/tag1413.xml"/><Relationship Id="rId32" Type="http://schemas.openxmlformats.org/officeDocument/2006/relationships/tags" Target="../tags/tag1421.xml"/><Relationship Id="rId37" Type="http://schemas.openxmlformats.org/officeDocument/2006/relationships/tags" Target="../tags/tag1426.xml"/><Relationship Id="rId40" Type="http://schemas.openxmlformats.org/officeDocument/2006/relationships/tags" Target="../tags/tag1429.xml"/><Relationship Id="rId45" Type="http://schemas.openxmlformats.org/officeDocument/2006/relationships/tags" Target="../tags/tag1434.xml"/><Relationship Id="rId53" Type="http://schemas.openxmlformats.org/officeDocument/2006/relationships/tags" Target="../tags/tag1442.xml"/><Relationship Id="rId58" Type="http://schemas.openxmlformats.org/officeDocument/2006/relationships/tags" Target="../tags/tag1447.xml"/><Relationship Id="rId66" Type="http://schemas.openxmlformats.org/officeDocument/2006/relationships/oleObject" Target="../embeddings/oleObject60.bin"/><Relationship Id="rId5" Type="http://schemas.openxmlformats.org/officeDocument/2006/relationships/tags" Target="../tags/tag1394.xml"/><Relationship Id="rId15" Type="http://schemas.openxmlformats.org/officeDocument/2006/relationships/tags" Target="../tags/tag1404.xml"/><Relationship Id="rId23" Type="http://schemas.openxmlformats.org/officeDocument/2006/relationships/tags" Target="../tags/tag1412.xml"/><Relationship Id="rId28" Type="http://schemas.openxmlformats.org/officeDocument/2006/relationships/tags" Target="../tags/tag1417.xml"/><Relationship Id="rId36" Type="http://schemas.openxmlformats.org/officeDocument/2006/relationships/tags" Target="../tags/tag1425.xml"/><Relationship Id="rId49" Type="http://schemas.openxmlformats.org/officeDocument/2006/relationships/tags" Target="../tags/tag1438.xml"/><Relationship Id="rId57" Type="http://schemas.openxmlformats.org/officeDocument/2006/relationships/tags" Target="../tags/tag1446.xml"/><Relationship Id="rId61" Type="http://schemas.openxmlformats.org/officeDocument/2006/relationships/tags" Target="../tags/tag1450.xml"/><Relationship Id="rId10" Type="http://schemas.openxmlformats.org/officeDocument/2006/relationships/tags" Target="../tags/tag1399.xml"/><Relationship Id="rId19" Type="http://schemas.openxmlformats.org/officeDocument/2006/relationships/tags" Target="../tags/tag1408.xml"/><Relationship Id="rId31" Type="http://schemas.openxmlformats.org/officeDocument/2006/relationships/tags" Target="../tags/tag1420.xml"/><Relationship Id="rId44" Type="http://schemas.openxmlformats.org/officeDocument/2006/relationships/tags" Target="../tags/tag1433.xml"/><Relationship Id="rId52" Type="http://schemas.openxmlformats.org/officeDocument/2006/relationships/tags" Target="../tags/tag1441.xml"/><Relationship Id="rId60" Type="http://schemas.openxmlformats.org/officeDocument/2006/relationships/tags" Target="../tags/tag1449.xml"/><Relationship Id="rId65" Type="http://schemas.openxmlformats.org/officeDocument/2006/relationships/notesSlide" Target="../notesSlides/notesSlide32.xml"/><Relationship Id="rId4" Type="http://schemas.openxmlformats.org/officeDocument/2006/relationships/tags" Target="../tags/tag1393.xml"/><Relationship Id="rId9" Type="http://schemas.openxmlformats.org/officeDocument/2006/relationships/tags" Target="../tags/tag1398.xml"/><Relationship Id="rId14" Type="http://schemas.openxmlformats.org/officeDocument/2006/relationships/tags" Target="../tags/tag1403.xml"/><Relationship Id="rId22" Type="http://schemas.openxmlformats.org/officeDocument/2006/relationships/tags" Target="../tags/tag1411.xml"/><Relationship Id="rId27" Type="http://schemas.openxmlformats.org/officeDocument/2006/relationships/tags" Target="../tags/tag1416.xml"/><Relationship Id="rId30" Type="http://schemas.openxmlformats.org/officeDocument/2006/relationships/tags" Target="../tags/tag1419.xml"/><Relationship Id="rId35" Type="http://schemas.openxmlformats.org/officeDocument/2006/relationships/tags" Target="../tags/tag1424.xml"/><Relationship Id="rId43" Type="http://schemas.openxmlformats.org/officeDocument/2006/relationships/tags" Target="../tags/tag1432.xml"/><Relationship Id="rId48" Type="http://schemas.openxmlformats.org/officeDocument/2006/relationships/tags" Target="../tags/tag1437.xml"/><Relationship Id="rId56" Type="http://schemas.openxmlformats.org/officeDocument/2006/relationships/tags" Target="../tags/tag1445.xml"/><Relationship Id="rId64" Type="http://schemas.openxmlformats.org/officeDocument/2006/relationships/slideLayout" Target="../slideLayouts/slideLayout2.xml"/><Relationship Id="rId8" Type="http://schemas.openxmlformats.org/officeDocument/2006/relationships/tags" Target="../tags/tag1397.xml"/><Relationship Id="rId51" Type="http://schemas.openxmlformats.org/officeDocument/2006/relationships/tags" Target="../tags/tag1440.xml"/><Relationship Id="rId3" Type="http://schemas.openxmlformats.org/officeDocument/2006/relationships/tags" Target="../tags/tag1392.xml"/><Relationship Id="rId12" Type="http://schemas.openxmlformats.org/officeDocument/2006/relationships/tags" Target="../tags/tag1401.xml"/><Relationship Id="rId17" Type="http://schemas.openxmlformats.org/officeDocument/2006/relationships/tags" Target="../tags/tag1406.xml"/><Relationship Id="rId25" Type="http://schemas.openxmlformats.org/officeDocument/2006/relationships/tags" Target="../tags/tag1414.xml"/><Relationship Id="rId33" Type="http://schemas.openxmlformats.org/officeDocument/2006/relationships/tags" Target="../tags/tag1422.xml"/><Relationship Id="rId38" Type="http://schemas.openxmlformats.org/officeDocument/2006/relationships/tags" Target="../tags/tag1427.xml"/><Relationship Id="rId46" Type="http://schemas.openxmlformats.org/officeDocument/2006/relationships/tags" Target="../tags/tag1435.xml"/><Relationship Id="rId59" Type="http://schemas.openxmlformats.org/officeDocument/2006/relationships/tags" Target="../tags/tag1448.xml"/><Relationship Id="rId67" Type="http://schemas.openxmlformats.org/officeDocument/2006/relationships/image" Target="../media/image6.emf"/><Relationship Id="rId20" Type="http://schemas.openxmlformats.org/officeDocument/2006/relationships/tags" Target="../tags/tag1409.xml"/><Relationship Id="rId41" Type="http://schemas.openxmlformats.org/officeDocument/2006/relationships/tags" Target="../tags/tag1430.xml"/><Relationship Id="rId54" Type="http://schemas.openxmlformats.org/officeDocument/2006/relationships/tags" Target="../tags/tag1443.xml"/><Relationship Id="rId62" Type="http://schemas.openxmlformats.org/officeDocument/2006/relationships/tags" Target="../tags/tag1451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1459.xml"/><Relationship Id="rId13" Type="http://schemas.openxmlformats.org/officeDocument/2006/relationships/tags" Target="../tags/tag1464.xml"/><Relationship Id="rId18" Type="http://schemas.openxmlformats.org/officeDocument/2006/relationships/tags" Target="../tags/tag1469.xml"/><Relationship Id="rId26" Type="http://schemas.openxmlformats.org/officeDocument/2006/relationships/tags" Target="../tags/tag1477.xml"/><Relationship Id="rId3" Type="http://schemas.openxmlformats.org/officeDocument/2006/relationships/tags" Target="../tags/tag1454.xml"/><Relationship Id="rId21" Type="http://schemas.openxmlformats.org/officeDocument/2006/relationships/tags" Target="../tags/tag1472.xml"/><Relationship Id="rId34" Type="http://schemas.openxmlformats.org/officeDocument/2006/relationships/chart" Target="../charts/chart40.xml"/><Relationship Id="rId7" Type="http://schemas.openxmlformats.org/officeDocument/2006/relationships/tags" Target="../tags/tag1458.xml"/><Relationship Id="rId12" Type="http://schemas.openxmlformats.org/officeDocument/2006/relationships/tags" Target="../tags/tag1463.xml"/><Relationship Id="rId17" Type="http://schemas.openxmlformats.org/officeDocument/2006/relationships/tags" Target="../tags/tag1468.xml"/><Relationship Id="rId25" Type="http://schemas.openxmlformats.org/officeDocument/2006/relationships/tags" Target="../tags/tag1476.xml"/><Relationship Id="rId33" Type="http://schemas.openxmlformats.org/officeDocument/2006/relationships/image" Target="../media/image6.emf"/><Relationship Id="rId2" Type="http://schemas.openxmlformats.org/officeDocument/2006/relationships/tags" Target="../tags/tag1453.xml"/><Relationship Id="rId16" Type="http://schemas.openxmlformats.org/officeDocument/2006/relationships/tags" Target="../tags/tag1467.xml"/><Relationship Id="rId20" Type="http://schemas.openxmlformats.org/officeDocument/2006/relationships/tags" Target="../tags/tag1471.xml"/><Relationship Id="rId29" Type="http://schemas.openxmlformats.org/officeDocument/2006/relationships/tags" Target="../tags/tag1480.xml"/><Relationship Id="rId1" Type="http://schemas.openxmlformats.org/officeDocument/2006/relationships/vmlDrawing" Target="../drawings/vmlDrawing61.vml"/><Relationship Id="rId6" Type="http://schemas.openxmlformats.org/officeDocument/2006/relationships/tags" Target="../tags/tag1457.xml"/><Relationship Id="rId11" Type="http://schemas.openxmlformats.org/officeDocument/2006/relationships/tags" Target="../tags/tag1462.xml"/><Relationship Id="rId24" Type="http://schemas.openxmlformats.org/officeDocument/2006/relationships/tags" Target="../tags/tag1475.xml"/><Relationship Id="rId32" Type="http://schemas.openxmlformats.org/officeDocument/2006/relationships/oleObject" Target="../embeddings/oleObject61.bin"/><Relationship Id="rId5" Type="http://schemas.openxmlformats.org/officeDocument/2006/relationships/tags" Target="../tags/tag1456.xml"/><Relationship Id="rId15" Type="http://schemas.openxmlformats.org/officeDocument/2006/relationships/tags" Target="../tags/tag1466.xml"/><Relationship Id="rId23" Type="http://schemas.openxmlformats.org/officeDocument/2006/relationships/tags" Target="../tags/tag1474.xml"/><Relationship Id="rId28" Type="http://schemas.openxmlformats.org/officeDocument/2006/relationships/tags" Target="../tags/tag1479.xml"/><Relationship Id="rId10" Type="http://schemas.openxmlformats.org/officeDocument/2006/relationships/tags" Target="../tags/tag1461.xml"/><Relationship Id="rId19" Type="http://schemas.openxmlformats.org/officeDocument/2006/relationships/tags" Target="../tags/tag1470.xml"/><Relationship Id="rId31" Type="http://schemas.openxmlformats.org/officeDocument/2006/relationships/notesSlide" Target="../notesSlides/notesSlide33.xml"/><Relationship Id="rId4" Type="http://schemas.openxmlformats.org/officeDocument/2006/relationships/tags" Target="../tags/tag1455.xml"/><Relationship Id="rId9" Type="http://schemas.openxmlformats.org/officeDocument/2006/relationships/tags" Target="../tags/tag1460.xml"/><Relationship Id="rId14" Type="http://schemas.openxmlformats.org/officeDocument/2006/relationships/tags" Target="../tags/tag1465.xml"/><Relationship Id="rId22" Type="http://schemas.openxmlformats.org/officeDocument/2006/relationships/tags" Target="../tags/tag1473.xml"/><Relationship Id="rId27" Type="http://schemas.openxmlformats.org/officeDocument/2006/relationships/tags" Target="../tags/tag1478.xml"/><Relationship Id="rId30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1487.xml"/><Relationship Id="rId13" Type="http://schemas.openxmlformats.org/officeDocument/2006/relationships/tags" Target="../tags/tag1492.xml"/><Relationship Id="rId18" Type="http://schemas.openxmlformats.org/officeDocument/2006/relationships/tags" Target="../tags/tag1497.xml"/><Relationship Id="rId26" Type="http://schemas.openxmlformats.org/officeDocument/2006/relationships/tags" Target="../tags/tag1505.xml"/><Relationship Id="rId3" Type="http://schemas.openxmlformats.org/officeDocument/2006/relationships/tags" Target="../tags/tag1482.xml"/><Relationship Id="rId21" Type="http://schemas.openxmlformats.org/officeDocument/2006/relationships/tags" Target="../tags/tag1500.xml"/><Relationship Id="rId34" Type="http://schemas.openxmlformats.org/officeDocument/2006/relationships/oleObject" Target="../embeddings/oleObject62.bin"/><Relationship Id="rId7" Type="http://schemas.openxmlformats.org/officeDocument/2006/relationships/tags" Target="../tags/tag1486.xml"/><Relationship Id="rId12" Type="http://schemas.openxmlformats.org/officeDocument/2006/relationships/tags" Target="../tags/tag1491.xml"/><Relationship Id="rId17" Type="http://schemas.openxmlformats.org/officeDocument/2006/relationships/tags" Target="../tags/tag1496.xml"/><Relationship Id="rId25" Type="http://schemas.openxmlformats.org/officeDocument/2006/relationships/tags" Target="../tags/tag1504.xml"/><Relationship Id="rId33" Type="http://schemas.openxmlformats.org/officeDocument/2006/relationships/notesSlide" Target="../notesSlides/notesSlide34.xml"/><Relationship Id="rId2" Type="http://schemas.openxmlformats.org/officeDocument/2006/relationships/tags" Target="../tags/tag1481.xml"/><Relationship Id="rId16" Type="http://schemas.openxmlformats.org/officeDocument/2006/relationships/tags" Target="../tags/tag1495.xml"/><Relationship Id="rId20" Type="http://schemas.openxmlformats.org/officeDocument/2006/relationships/tags" Target="../tags/tag1499.xml"/><Relationship Id="rId29" Type="http://schemas.openxmlformats.org/officeDocument/2006/relationships/tags" Target="../tags/tag1508.xml"/><Relationship Id="rId1" Type="http://schemas.openxmlformats.org/officeDocument/2006/relationships/vmlDrawing" Target="../drawings/vmlDrawing62.vml"/><Relationship Id="rId6" Type="http://schemas.openxmlformats.org/officeDocument/2006/relationships/tags" Target="../tags/tag1485.xml"/><Relationship Id="rId11" Type="http://schemas.openxmlformats.org/officeDocument/2006/relationships/tags" Target="../tags/tag1490.xml"/><Relationship Id="rId24" Type="http://schemas.openxmlformats.org/officeDocument/2006/relationships/tags" Target="../tags/tag1503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1484.xml"/><Relationship Id="rId15" Type="http://schemas.openxmlformats.org/officeDocument/2006/relationships/tags" Target="../tags/tag1494.xml"/><Relationship Id="rId23" Type="http://schemas.openxmlformats.org/officeDocument/2006/relationships/tags" Target="../tags/tag1502.xml"/><Relationship Id="rId28" Type="http://schemas.openxmlformats.org/officeDocument/2006/relationships/tags" Target="../tags/tag1507.xml"/><Relationship Id="rId36" Type="http://schemas.openxmlformats.org/officeDocument/2006/relationships/chart" Target="../charts/chart41.xml"/><Relationship Id="rId10" Type="http://schemas.openxmlformats.org/officeDocument/2006/relationships/tags" Target="../tags/tag1489.xml"/><Relationship Id="rId19" Type="http://schemas.openxmlformats.org/officeDocument/2006/relationships/tags" Target="../tags/tag1498.xml"/><Relationship Id="rId31" Type="http://schemas.openxmlformats.org/officeDocument/2006/relationships/tags" Target="../tags/tag1510.xml"/><Relationship Id="rId4" Type="http://schemas.openxmlformats.org/officeDocument/2006/relationships/tags" Target="../tags/tag1483.xml"/><Relationship Id="rId9" Type="http://schemas.openxmlformats.org/officeDocument/2006/relationships/tags" Target="../tags/tag1488.xml"/><Relationship Id="rId14" Type="http://schemas.openxmlformats.org/officeDocument/2006/relationships/tags" Target="../tags/tag1493.xml"/><Relationship Id="rId22" Type="http://schemas.openxmlformats.org/officeDocument/2006/relationships/tags" Target="../tags/tag1501.xml"/><Relationship Id="rId27" Type="http://schemas.openxmlformats.org/officeDocument/2006/relationships/tags" Target="../tags/tag1506.xml"/><Relationship Id="rId30" Type="http://schemas.openxmlformats.org/officeDocument/2006/relationships/tags" Target="../tags/tag1509.xml"/><Relationship Id="rId35" Type="http://schemas.openxmlformats.org/officeDocument/2006/relationships/image" Target="../media/image6.emf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2.xml"/><Relationship Id="rId3" Type="http://schemas.openxmlformats.org/officeDocument/2006/relationships/tags" Target="../tags/tag1512.xml"/><Relationship Id="rId7" Type="http://schemas.openxmlformats.org/officeDocument/2006/relationships/image" Target="../media/image6.emf"/><Relationship Id="rId2" Type="http://schemas.openxmlformats.org/officeDocument/2006/relationships/tags" Target="../tags/tag1511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notesSlide" Target="../notesSlides/notesSlide3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tags" Target="../tags/tag1519.xml"/><Relationship Id="rId13" Type="http://schemas.openxmlformats.org/officeDocument/2006/relationships/tags" Target="../tags/tag1524.xml"/><Relationship Id="rId18" Type="http://schemas.openxmlformats.org/officeDocument/2006/relationships/tags" Target="../tags/tag1529.xml"/><Relationship Id="rId26" Type="http://schemas.openxmlformats.org/officeDocument/2006/relationships/tags" Target="../tags/tag1537.xml"/><Relationship Id="rId3" Type="http://schemas.openxmlformats.org/officeDocument/2006/relationships/tags" Target="../tags/tag1514.xml"/><Relationship Id="rId21" Type="http://schemas.openxmlformats.org/officeDocument/2006/relationships/tags" Target="../tags/tag1532.xml"/><Relationship Id="rId34" Type="http://schemas.openxmlformats.org/officeDocument/2006/relationships/oleObject" Target="../embeddings/oleObject64.bin"/><Relationship Id="rId7" Type="http://schemas.openxmlformats.org/officeDocument/2006/relationships/tags" Target="../tags/tag1518.xml"/><Relationship Id="rId12" Type="http://schemas.openxmlformats.org/officeDocument/2006/relationships/tags" Target="../tags/tag1523.xml"/><Relationship Id="rId17" Type="http://schemas.openxmlformats.org/officeDocument/2006/relationships/tags" Target="../tags/tag1528.xml"/><Relationship Id="rId25" Type="http://schemas.openxmlformats.org/officeDocument/2006/relationships/tags" Target="../tags/tag1536.xml"/><Relationship Id="rId33" Type="http://schemas.openxmlformats.org/officeDocument/2006/relationships/notesSlide" Target="../notesSlides/notesSlide36.xml"/><Relationship Id="rId2" Type="http://schemas.openxmlformats.org/officeDocument/2006/relationships/tags" Target="../tags/tag1513.xml"/><Relationship Id="rId16" Type="http://schemas.openxmlformats.org/officeDocument/2006/relationships/tags" Target="../tags/tag1527.xml"/><Relationship Id="rId20" Type="http://schemas.openxmlformats.org/officeDocument/2006/relationships/tags" Target="../tags/tag1531.xml"/><Relationship Id="rId29" Type="http://schemas.openxmlformats.org/officeDocument/2006/relationships/tags" Target="../tags/tag1540.xml"/><Relationship Id="rId1" Type="http://schemas.openxmlformats.org/officeDocument/2006/relationships/vmlDrawing" Target="../drawings/vmlDrawing64.vml"/><Relationship Id="rId6" Type="http://schemas.openxmlformats.org/officeDocument/2006/relationships/tags" Target="../tags/tag1517.xml"/><Relationship Id="rId11" Type="http://schemas.openxmlformats.org/officeDocument/2006/relationships/tags" Target="../tags/tag1522.xml"/><Relationship Id="rId24" Type="http://schemas.openxmlformats.org/officeDocument/2006/relationships/tags" Target="../tags/tag1535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1516.xml"/><Relationship Id="rId15" Type="http://schemas.openxmlformats.org/officeDocument/2006/relationships/tags" Target="../tags/tag1526.xml"/><Relationship Id="rId23" Type="http://schemas.openxmlformats.org/officeDocument/2006/relationships/tags" Target="../tags/tag1534.xml"/><Relationship Id="rId28" Type="http://schemas.openxmlformats.org/officeDocument/2006/relationships/tags" Target="../tags/tag1539.xml"/><Relationship Id="rId36" Type="http://schemas.openxmlformats.org/officeDocument/2006/relationships/chart" Target="../charts/chart43.xml"/><Relationship Id="rId10" Type="http://schemas.openxmlformats.org/officeDocument/2006/relationships/tags" Target="../tags/tag1521.xml"/><Relationship Id="rId19" Type="http://schemas.openxmlformats.org/officeDocument/2006/relationships/tags" Target="../tags/tag1530.xml"/><Relationship Id="rId31" Type="http://schemas.openxmlformats.org/officeDocument/2006/relationships/tags" Target="../tags/tag1542.xml"/><Relationship Id="rId4" Type="http://schemas.openxmlformats.org/officeDocument/2006/relationships/tags" Target="../tags/tag1515.xml"/><Relationship Id="rId9" Type="http://schemas.openxmlformats.org/officeDocument/2006/relationships/tags" Target="../tags/tag1520.xml"/><Relationship Id="rId14" Type="http://schemas.openxmlformats.org/officeDocument/2006/relationships/tags" Target="../tags/tag1525.xml"/><Relationship Id="rId22" Type="http://schemas.openxmlformats.org/officeDocument/2006/relationships/tags" Target="../tags/tag1533.xml"/><Relationship Id="rId27" Type="http://schemas.openxmlformats.org/officeDocument/2006/relationships/tags" Target="../tags/tag1538.xml"/><Relationship Id="rId30" Type="http://schemas.openxmlformats.org/officeDocument/2006/relationships/tags" Target="../tags/tag1541.xml"/><Relationship Id="rId35" Type="http://schemas.openxmlformats.org/officeDocument/2006/relationships/image" Target="../media/image6.emf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4.xml"/><Relationship Id="rId3" Type="http://schemas.openxmlformats.org/officeDocument/2006/relationships/tags" Target="../tags/tag1544.xml"/><Relationship Id="rId7" Type="http://schemas.openxmlformats.org/officeDocument/2006/relationships/image" Target="../media/image6.emf"/><Relationship Id="rId2" Type="http://schemas.openxmlformats.org/officeDocument/2006/relationships/tags" Target="../tags/tag1543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notesSlide" Target="../notesSlides/notesSlide37.xml"/><Relationship Id="rId4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tags" Target="../tags/tag1551.xml"/><Relationship Id="rId13" Type="http://schemas.openxmlformats.org/officeDocument/2006/relationships/tags" Target="../tags/tag1556.xml"/><Relationship Id="rId18" Type="http://schemas.openxmlformats.org/officeDocument/2006/relationships/tags" Target="../tags/tag1561.xml"/><Relationship Id="rId26" Type="http://schemas.openxmlformats.org/officeDocument/2006/relationships/tags" Target="../tags/tag1569.xml"/><Relationship Id="rId3" Type="http://schemas.openxmlformats.org/officeDocument/2006/relationships/tags" Target="../tags/tag1546.xml"/><Relationship Id="rId21" Type="http://schemas.openxmlformats.org/officeDocument/2006/relationships/tags" Target="../tags/tag1564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1550.xml"/><Relationship Id="rId12" Type="http://schemas.openxmlformats.org/officeDocument/2006/relationships/tags" Target="../tags/tag1555.xml"/><Relationship Id="rId17" Type="http://schemas.openxmlformats.org/officeDocument/2006/relationships/tags" Target="../tags/tag1560.xml"/><Relationship Id="rId25" Type="http://schemas.openxmlformats.org/officeDocument/2006/relationships/tags" Target="../tags/tag1568.xml"/><Relationship Id="rId33" Type="http://schemas.openxmlformats.org/officeDocument/2006/relationships/tags" Target="../tags/tag1576.xml"/><Relationship Id="rId38" Type="http://schemas.openxmlformats.org/officeDocument/2006/relationships/comments" Target="../comments/comment5.xml"/><Relationship Id="rId2" Type="http://schemas.openxmlformats.org/officeDocument/2006/relationships/tags" Target="../tags/tag1545.xml"/><Relationship Id="rId16" Type="http://schemas.openxmlformats.org/officeDocument/2006/relationships/tags" Target="../tags/tag1559.xml"/><Relationship Id="rId20" Type="http://schemas.openxmlformats.org/officeDocument/2006/relationships/tags" Target="../tags/tag1563.xml"/><Relationship Id="rId29" Type="http://schemas.openxmlformats.org/officeDocument/2006/relationships/tags" Target="../tags/tag1572.xml"/><Relationship Id="rId1" Type="http://schemas.openxmlformats.org/officeDocument/2006/relationships/vmlDrawing" Target="../drawings/vmlDrawing66.vml"/><Relationship Id="rId6" Type="http://schemas.openxmlformats.org/officeDocument/2006/relationships/tags" Target="../tags/tag1549.xml"/><Relationship Id="rId11" Type="http://schemas.openxmlformats.org/officeDocument/2006/relationships/tags" Target="../tags/tag1554.xml"/><Relationship Id="rId24" Type="http://schemas.openxmlformats.org/officeDocument/2006/relationships/tags" Target="../tags/tag1567.xml"/><Relationship Id="rId32" Type="http://schemas.openxmlformats.org/officeDocument/2006/relationships/tags" Target="../tags/tag1575.xml"/><Relationship Id="rId37" Type="http://schemas.openxmlformats.org/officeDocument/2006/relationships/chart" Target="../charts/chart45.xml"/><Relationship Id="rId5" Type="http://schemas.openxmlformats.org/officeDocument/2006/relationships/tags" Target="../tags/tag1548.xml"/><Relationship Id="rId15" Type="http://schemas.openxmlformats.org/officeDocument/2006/relationships/tags" Target="../tags/tag1558.xml"/><Relationship Id="rId23" Type="http://schemas.openxmlformats.org/officeDocument/2006/relationships/tags" Target="../tags/tag1566.xml"/><Relationship Id="rId28" Type="http://schemas.openxmlformats.org/officeDocument/2006/relationships/tags" Target="../tags/tag1571.xml"/><Relationship Id="rId36" Type="http://schemas.openxmlformats.org/officeDocument/2006/relationships/image" Target="../media/image6.emf"/><Relationship Id="rId10" Type="http://schemas.openxmlformats.org/officeDocument/2006/relationships/tags" Target="../tags/tag1553.xml"/><Relationship Id="rId19" Type="http://schemas.openxmlformats.org/officeDocument/2006/relationships/tags" Target="../tags/tag1562.xml"/><Relationship Id="rId31" Type="http://schemas.openxmlformats.org/officeDocument/2006/relationships/tags" Target="../tags/tag1574.xml"/><Relationship Id="rId4" Type="http://schemas.openxmlformats.org/officeDocument/2006/relationships/tags" Target="../tags/tag1547.xml"/><Relationship Id="rId9" Type="http://schemas.openxmlformats.org/officeDocument/2006/relationships/tags" Target="../tags/tag1552.xml"/><Relationship Id="rId14" Type="http://schemas.openxmlformats.org/officeDocument/2006/relationships/tags" Target="../tags/tag1557.xml"/><Relationship Id="rId22" Type="http://schemas.openxmlformats.org/officeDocument/2006/relationships/tags" Target="../tags/tag1565.xml"/><Relationship Id="rId27" Type="http://schemas.openxmlformats.org/officeDocument/2006/relationships/tags" Target="../tags/tag1570.xml"/><Relationship Id="rId30" Type="http://schemas.openxmlformats.org/officeDocument/2006/relationships/tags" Target="../tags/tag1573.xml"/><Relationship Id="rId35" Type="http://schemas.openxmlformats.org/officeDocument/2006/relationships/oleObject" Target="../embeddings/oleObject66.bin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120.xml"/><Relationship Id="rId117" Type="http://schemas.openxmlformats.org/officeDocument/2006/relationships/tags" Target="../tags/tag211.xml"/><Relationship Id="rId21" Type="http://schemas.openxmlformats.org/officeDocument/2006/relationships/tags" Target="../tags/tag115.xml"/><Relationship Id="rId42" Type="http://schemas.openxmlformats.org/officeDocument/2006/relationships/tags" Target="../tags/tag136.xml"/><Relationship Id="rId47" Type="http://schemas.openxmlformats.org/officeDocument/2006/relationships/tags" Target="../tags/tag141.xml"/><Relationship Id="rId63" Type="http://schemas.openxmlformats.org/officeDocument/2006/relationships/tags" Target="../tags/tag157.xml"/><Relationship Id="rId68" Type="http://schemas.openxmlformats.org/officeDocument/2006/relationships/tags" Target="../tags/tag162.xml"/><Relationship Id="rId84" Type="http://schemas.openxmlformats.org/officeDocument/2006/relationships/tags" Target="../tags/tag178.xml"/><Relationship Id="rId89" Type="http://schemas.openxmlformats.org/officeDocument/2006/relationships/tags" Target="../tags/tag183.xml"/><Relationship Id="rId112" Type="http://schemas.openxmlformats.org/officeDocument/2006/relationships/tags" Target="../tags/tag206.xml"/><Relationship Id="rId133" Type="http://schemas.openxmlformats.org/officeDocument/2006/relationships/tags" Target="../tags/tag227.xml"/><Relationship Id="rId138" Type="http://schemas.openxmlformats.org/officeDocument/2006/relationships/tags" Target="../tags/tag232.xml"/><Relationship Id="rId154" Type="http://schemas.openxmlformats.org/officeDocument/2006/relationships/tags" Target="../tags/tag248.xml"/><Relationship Id="rId159" Type="http://schemas.openxmlformats.org/officeDocument/2006/relationships/tags" Target="../tags/tag253.xml"/><Relationship Id="rId175" Type="http://schemas.openxmlformats.org/officeDocument/2006/relationships/tags" Target="../tags/tag269.xml"/><Relationship Id="rId170" Type="http://schemas.openxmlformats.org/officeDocument/2006/relationships/tags" Target="../tags/tag264.xml"/><Relationship Id="rId16" Type="http://schemas.openxmlformats.org/officeDocument/2006/relationships/tags" Target="../tags/tag110.xml"/><Relationship Id="rId107" Type="http://schemas.openxmlformats.org/officeDocument/2006/relationships/tags" Target="../tags/tag201.xml"/><Relationship Id="rId11" Type="http://schemas.openxmlformats.org/officeDocument/2006/relationships/tags" Target="../tags/tag105.xml"/><Relationship Id="rId32" Type="http://schemas.openxmlformats.org/officeDocument/2006/relationships/tags" Target="../tags/tag126.xml"/><Relationship Id="rId37" Type="http://schemas.openxmlformats.org/officeDocument/2006/relationships/tags" Target="../tags/tag131.xml"/><Relationship Id="rId53" Type="http://schemas.openxmlformats.org/officeDocument/2006/relationships/tags" Target="../tags/tag147.xml"/><Relationship Id="rId58" Type="http://schemas.openxmlformats.org/officeDocument/2006/relationships/tags" Target="../tags/tag152.xml"/><Relationship Id="rId74" Type="http://schemas.openxmlformats.org/officeDocument/2006/relationships/tags" Target="../tags/tag168.xml"/><Relationship Id="rId79" Type="http://schemas.openxmlformats.org/officeDocument/2006/relationships/tags" Target="../tags/tag173.xml"/><Relationship Id="rId102" Type="http://schemas.openxmlformats.org/officeDocument/2006/relationships/tags" Target="../tags/tag196.xml"/><Relationship Id="rId123" Type="http://schemas.openxmlformats.org/officeDocument/2006/relationships/tags" Target="../tags/tag217.xml"/><Relationship Id="rId128" Type="http://schemas.openxmlformats.org/officeDocument/2006/relationships/tags" Target="../tags/tag222.xml"/><Relationship Id="rId144" Type="http://schemas.openxmlformats.org/officeDocument/2006/relationships/tags" Target="../tags/tag238.xml"/><Relationship Id="rId149" Type="http://schemas.openxmlformats.org/officeDocument/2006/relationships/tags" Target="../tags/tag243.xml"/><Relationship Id="rId5" Type="http://schemas.openxmlformats.org/officeDocument/2006/relationships/tags" Target="../tags/tag99.xml"/><Relationship Id="rId90" Type="http://schemas.openxmlformats.org/officeDocument/2006/relationships/tags" Target="../tags/tag184.xml"/><Relationship Id="rId95" Type="http://schemas.openxmlformats.org/officeDocument/2006/relationships/tags" Target="../tags/tag189.xml"/><Relationship Id="rId160" Type="http://schemas.openxmlformats.org/officeDocument/2006/relationships/tags" Target="../tags/tag254.xml"/><Relationship Id="rId165" Type="http://schemas.openxmlformats.org/officeDocument/2006/relationships/tags" Target="../tags/tag259.xml"/><Relationship Id="rId181" Type="http://schemas.openxmlformats.org/officeDocument/2006/relationships/tags" Target="../tags/tag275.xml"/><Relationship Id="rId186" Type="http://schemas.openxmlformats.org/officeDocument/2006/relationships/chart" Target="../charts/chart4.xml"/><Relationship Id="rId22" Type="http://schemas.openxmlformats.org/officeDocument/2006/relationships/tags" Target="../tags/tag116.xml"/><Relationship Id="rId27" Type="http://schemas.openxmlformats.org/officeDocument/2006/relationships/tags" Target="../tags/tag121.xml"/><Relationship Id="rId43" Type="http://schemas.openxmlformats.org/officeDocument/2006/relationships/tags" Target="../tags/tag137.xml"/><Relationship Id="rId48" Type="http://schemas.openxmlformats.org/officeDocument/2006/relationships/tags" Target="../tags/tag142.xml"/><Relationship Id="rId64" Type="http://schemas.openxmlformats.org/officeDocument/2006/relationships/tags" Target="../tags/tag158.xml"/><Relationship Id="rId69" Type="http://schemas.openxmlformats.org/officeDocument/2006/relationships/tags" Target="../tags/tag163.xml"/><Relationship Id="rId113" Type="http://schemas.openxmlformats.org/officeDocument/2006/relationships/tags" Target="../tags/tag207.xml"/><Relationship Id="rId118" Type="http://schemas.openxmlformats.org/officeDocument/2006/relationships/tags" Target="../tags/tag212.xml"/><Relationship Id="rId134" Type="http://schemas.openxmlformats.org/officeDocument/2006/relationships/tags" Target="../tags/tag228.xml"/><Relationship Id="rId139" Type="http://schemas.openxmlformats.org/officeDocument/2006/relationships/tags" Target="../tags/tag233.xml"/><Relationship Id="rId80" Type="http://schemas.openxmlformats.org/officeDocument/2006/relationships/tags" Target="../tags/tag174.xml"/><Relationship Id="rId85" Type="http://schemas.openxmlformats.org/officeDocument/2006/relationships/tags" Target="../tags/tag179.xml"/><Relationship Id="rId150" Type="http://schemas.openxmlformats.org/officeDocument/2006/relationships/tags" Target="../tags/tag244.xml"/><Relationship Id="rId155" Type="http://schemas.openxmlformats.org/officeDocument/2006/relationships/tags" Target="../tags/tag249.xml"/><Relationship Id="rId171" Type="http://schemas.openxmlformats.org/officeDocument/2006/relationships/tags" Target="../tags/tag265.xml"/><Relationship Id="rId176" Type="http://schemas.openxmlformats.org/officeDocument/2006/relationships/tags" Target="../tags/tag270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33" Type="http://schemas.openxmlformats.org/officeDocument/2006/relationships/tags" Target="../tags/tag127.xml"/><Relationship Id="rId38" Type="http://schemas.openxmlformats.org/officeDocument/2006/relationships/tags" Target="../tags/tag132.xml"/><Relationship Id="rId59" Type="http://schemas.openxmlformats.org/officeDocument/2006/relationships/tags" Target="../tags/tag153.xml"/><Relationship Id="rId103" Type="http://schemas.openxmlformats.org/officeDocument/2006/relationships/tags" Target="../tags/tag197.xml"/><Relationship Id="rId108" Type="http://schemas.openxmlformats.org/officeDocument/2006/relationships/tags" Target="../tags/tag202.xml"/><Relationship Id="rId124" Type="http://schemas.openxmlformats.org/officeDocument/2006/relationships/tags" Target="../tags/tag218.xml"/><Relationship Id="rId129" Type="http://schemas.openxmlformats.org/officeDocument/2006/relationships/tags" Target="../tags/tag223.xml"/><Relationship Id="rId54" Type="http://schemas.openxmlformats.org/officeDocument/2006/relationships/tags" Target="../tags/tag148.xml"/><Relationship Id="rId70" Type="http://schemas.openxmlformats.org/officeDocument/2006/relationships/tags" Target="../tags/tag164.xml"/><Relationship Id="rId75" Type="http://schemas.openxmlformats.org/officeDocument/2006/relationships/tags" Target="../tags/tag169.xml"/><Relationship Id="rId91" Type="http://schemas.openxmlformats.org/officeDocument/2006/relationships/tags" Target="../tags/tag185.xml"/><Relationship Id="rId96" Type="http://schemas.openxmlformats.org/officeDocument/2006/relationships/tags" Target="../tags/tag190.xml"/><Relationship Id="rId140" Type="http://schemas.openxmlformats.org/officeDocument/2006/relationships/tags" Target="../tags/tag234.xml"/><Relationship Id="rId145" Type="http://schemas.openxmlformats.org/officeDocument/2006/relationships/tags" Target="../tags/tag239.xml"/><Relationship Id="rId161" Type="http://schemas.openxmlformats.org/officeDocument/2006/relationships/tags" Target="../tags/tag255.xml"/><Relationship Id="rId166" Type="http://schemas.openxmlformats.org/officeDocument/2006/relationships/tags" Target="../tags/tag260.xml"/><Relationship Id="rId182" Type="http://schemas.openxmlformats.org/officeDocument/2006/relationships/slideLayout" Target="../slideLayouts/slideLayout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0.xml"/><Relationship Id="rId23" Type="http://schemas.openxmlformats.org/officeDocument/2006/relationships/tags" Target="../tags/tag117.xml"/><Relationship Id="rId28" Type="http://schemas.openxmlformats.org/officeDocument/2006/relationships/tags" Target="../tags/tag122.xml"/><Relationship Id="rId49" Type="http://schemas.openxmlformats.org/officeDocument/2006/relationships/tags" Target="../tags/tag143.xml"/><Relationship Id="rId114" Type="http://schemas.openxmlformats.org/officeDocument/2006/relationships/tags" Target="../tags/tag208.xml"/><Relationship Id="rId119" Type="http://schemas.openxmlformats.org/officeDocument/2006/relationships/tags" Target="../tags/tag213.xml"/><Relationship Id="rId44" Type="http://schemas.openxmlformats.org/officeDocument/2006/relationships/tags" Target="../tags/tag138.xml"/><Relationship Id="rId60" Type="http://schemas.openxmlformats.org/officeDocument/2006/relationships/tags" Target="../tags/tag154.xml"/><Relationship Id="rId65" Type="http://schemas.openxmlformats.org/officeDocument/2006/relationships/tags" Target="../tags/tag159.xml"/><Relationship Id="rId81" Type="http://schemas.openxmlformats.org/officeDocument/2006/relationships/tags" Target="../tags/tag175.xml"/><Relationship Id="rId86" Type="http://schemas.openxmlformats.org/officeDocument/2006/relationships/tags" Target="../tags/tag180.xml"/><Relationship Id="rId130" Type="http://schemas.openxmlformats.org/officeDocument/2006/relationships/tags" Target="../tags/tag224.xml"/><Relationship Id="rId135" Type="http://schemas.openxmlformats.org/officeDocument/2006/relationships/tags" Target="../tags/tag229.xml"/><Relationship Id="rId151" Type="http://schemas.openxmlformats.org/officeDocument/2006/relationships/tags" Target="../tags/tag245.xml"/><Relationship Id="rId156" Type="http://schemas.openxmlformats.org/officeDocument/2006/relationships/tags" Target="../tags/tag250.xml"/><Relationship Id="rId177" Type="http://schemas.openxmlformats.org/officeDocument/2006/relationships/tags" Target="../tags/tag271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72" Type="http://schemas.openxmlformats.org/officeDocument/2006/relationships/tags" Target="../tags/tag266.xml"/><Relationship Id="rId180" Type="http://schemas.openxmlformats.org/officeDocument/2006/relationships/tags" Target="../tags/tag274.xml"/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39" Type="http://schemas.openxmlformats.org/officeDocument/2006/relationships/tags" Target="../tags/tag133.xml"/><Relationship Id="rId109" Type="http://schemas.openxmlformats.org/officeDocument/2006/relationships/tags" Target="../tags/tag203.xml"/><Relationship Id="rId34" Type="http://schemas.openxmlformats.org/officeDocument/2006/relationships/tags" Target="../tags/tag128.xml"/><Relationship Id="rId50" Type="http://schemas.openxmlformats.org/officeDocument/2006/relationships/tags" Target="../tags/tag144.xml"/><Relationship Id="rId55" Type="http://schemas.openxmlformats.org/officeDocument/2006/relationships/tags" Target="../tags/tag149.xml"/><Relationship Id="rId76" Type="http://schemas.openxmlformats.org/officeDocument/2006/relationships/tags" Target="../tags/tag170.xml"/><Relationship Id="rId97" Type="http://schemas.openxmlformats.org/officeDocument/2006/relationships/tags" Target="../tags/tag191.xml"/><Relationship Id="rId104" Type="http://schemas.openxmlformats.org/officeDocument/2006/relationships/tags" Target="../tags/tag198.xml"/><Relationship Id="rId120" Type="http://schemas.openxmlformats.org/officeDocument/2006/relationships/tags" Target="../tags/tag214.xml"/><Relationship Id="rId125" Type="http://schemas.openxmlformats.org/officeDocument/2006/relationships/tags" Target="../tags/tag219.xml"/><Relationship Id="rId141" Type="http://schemas.openxmlformats.org/officeDocument/2006/relationships/tags" Target="../tags/tag235.xml"/><Relationship Id="rId146" Type="http://schemas.openxmlformats.org/officeDocument/2006/relationships/tags" Target="../tags/tag240.xml"/><Relationship Id="rId167" Type="http://schemas.openxmlformats.org/officeDocument/2006/relationships/tags" Target="../tags/tag261.xml"/><Relationship Id="rId7" Type="http://schemas.openxmlformats.org/officeDocument/2006/relationships/tags" Target="../tags/tag101.xml"/><Relationship Id="rId71" Type="http://schemas.openxmlformats.org/officeDocument/2006/relationships/tags" Target="../tags/tag165.xml"/><Relationship Id="rId92" Type="http://schemas.openxmlformats.org/officeDocument/2006/relationships/tags" Target="../tags/tag186.xml"/><Relationship Id="rId162" Type="http://schemas.openxmlformats.org/officeDocument/2006/relationships/tags" Target="../tags/tag256.xml"/><Relationship Id="rId183" Type="http://schemas.openxmlformats.org/officeDocument/2006/relationships/notesSlide" Target="../notesSlides/notesSlide4.xml"/><Relationship Id="rId2" Type="http://schemas.openxmlformats.org/officeDocument/2006/relationships/tags" Target="../tags/tag96.xml"/><Relationship Id="rId29" Type="http://schemas.openxmlformats.org/officeDocument/2006/relationships/tags" Target="../tags/tag123.xml"/><Relationship Id="rId24" Type="http://schemas.openxmlformats.org/officeDocument/2006/relationships/tags" Target="../tags/tag118.xml"/><Relationship Id="rId40" Type="http://schemas.openxmlformats.org/officeDocument/2006/relationships/tags" Target="../tags/tag134.xml"/><Relationship Id="rId45" Type="http://schemas.openxmlformats.org/officeDocument/2006/relationships/tags" Target="../tags/tag139.xml"/><Relationship Id="rId66" Type="http://schemas.openxmlformats.org/officeDocument/2006/relationships/tags" Target="../tags/tag160.xml"/><Relationship Id="rId87" Type="http://schemas.openxmlformats.org/officeDocument/2006/relationships/tags" Target="../tags/tag181.xml"/><Relationship Id="rId110" Type="http://schemas.openxmlformats.org/officeDocument/2006/relationships/tags" Target="../tags/tag204.xml"/><Relationship Id="rId115" Type="http://schemas.openxmlformats.org/officeDocument/2006/relationships/tags" Target="../tags/tag209.xml"/><Relationship Id="rId131" Type="http://schemas.openxmlformats.org/officeDocument/2006/relationships/tags" Target="../tags/tag225.xml"/><Relationship Id="rId136" Type="http://schemas.openxmlformats.org/officeDocument/2006/relationships/tags" Target="../tags/tag230.xml"/><Relationship Id="rId157" Type="http://schemas.openxmlformats.org/officeDocument/2006/relationships/tags" Target="../tags/tag251.xml"/><Relationship Id="rId178" Type="http://schemas.openxmlformats.org/officeDocument/2006/relationships/tags" Target="../tags/tag272.xml"/><Relationship Id="rId61" Type="http://schemas.openxmlformats.org/officeDocument/2006/relationships/tags" Target="../tags/tag155.xml"/><Relationship Id="rId82" Type="http://schemas.openxmlformats.org/officeDocument/2006/relationships/tags" Target="../tags/tag176.xml"/><Relationship Id="rId152" Type="http://schemas.openxmlformats.org/officeDocument/2006/relationships/tags" Target="../tags/tag246.xml"/><Relationship Id="rId173" Type="http://schemas.openxmlformats.org/officeDocument/2006/relationships/tags" Target="../tags/tag267.xml"/><Relationship Id="rId19" Type="http://schemas.openxmlformats.org/officeDocument/2006/relationships/tags" Target="../tags/tag113.xml"/><Relationship Id="rId14" Type="http://schemas.openxmlformats.org/officeDocument/2006/relationships/tags" Target="../tags/tag108.xml"/><Relationship Id="rId30" Type="http://schemas.openxmlformats.org/officeDocument/2006/relationships/tags" Target="../tags/tag124.xml"/><Relationship Id="rId35" Type="http://schemas.openxmlformats.org/officeDocument/2006/relationships/tags" Target="../tags/tag129.xml"/><Relationship Id="rId56" Type="http://schemas.openxmlformats.org/officeDocument/2006/relationships/tags" Target="../tags/tag150.xml"/><Relationship Id="rId77" Type="http://schemas.openxmlformats.org/officeDocument/2006/relationships/tags" Target="../tags/tag171.xml"/><Relationship Id="rId100" Type="http://schemas.openxmlformats.org/officeDocument/2006/relationships/tags" Target="../tags/tag194.xml"/><Relationship Id="rId105" Type="http://schemas.openxmlformats.org/officeDocument/2006/relationships/tags" Target="../tags/tag199.xml"/><Relationship Id="rId126" Type="http://schemas.openxmlformats.org/officeDocument/2006/relationships/tags" Target="../tags/tag220.xml"/><Relationship Id="rId147" Type="http://schemas.openxmlformats.org/officeDocument/2006/relationships/tags" Target="../tags/tag241.xml"/><Relationship Id="rId168" Type="http://schemas.openxmlformats.org/officeDocument/2006/relationships/tags" Target="../tags/tag262.xml"/><Relationship Id="rId8" Type="http://schemas.openxmlformats.org/officeDocument/2006/relationships/tags" Target="../tags/tag102.xml"/><Relationship Id="rId51" Type="http://schemas.openxmlformats.org/officeDocument/2006/relationships/tags" Target="../tags/tag145.xml"/><Relationship Id="rId72" Type="http://schemas.openxmlformats.org/officeDocument/2006/relationships/tags" Target="../tags/tag166.xml"/><Relationship Id="rId93" Type="http://schemas.openxmlformats.org/officeDocument/2006/relationships/tags" Target="../tags/tag187.xml"/><Relationship Id="rId98" Type="http://schemas.openxmlformats.org/officeDocument/2006/relationships/tags" Target="../tags/tag192.xml"/><Relationship Id="rId121" Type="http://schemas.openxmlformats.org/officeDocument/2006/relationships/tags" Target="../tags/tag215.xml"/><Relationship Id="rId142" Type="http://schemas.openxmlformats.org/officeDocument/2006/relationships/tags" Target="../tags/tag236.xml"/><Relationship Id="rId163" Type="http://schemas.openxmlformats.org/officeDocument/2006/relationships/tags" Target="../tags/tag257.xml"/><Relationship Id="rId184" Type="http://schemas.openxmlformats.org/officeDocument/2006/relationships/oleObject" Target="../embeddings/oleObject11.bin"/><Relationship Id="rId3" Type="http://schemas.openxmlformats.org/officeDocument/2006/relationships/tags" Target="../tags/tag97.xml"/><Relationship Id="rId25" Type="http://schemas.openxmlformats.org/officeDocument/2006/relationships/tags" Target="../tags/tag119.xml"/><Relationship Id="rId46" Type="http://schemas.openxmlformats.org/officeDocument/2006/relationships/tags" Target="../tags/tag140.xml"/><Relationship Id="rId67" Type="http://schemas.openxmlformats.org/officeDocument/2006/relationships/tags" Target="../tags/tag161.xml"/><Relationship Id="rId116" Type="http://schemas.openxmlformats.org/officeDocument/2006/relationships/tags" Target="../tags/tag210.xml"/><Relationship Id="rId137" Type="http://schemas.openxmlformats.org/officeDocument/2006/relationships/tags" Target="../tags/tag231.xml"/><Relationship Id="rId158" Type="http://schemas.openxmlformats.org/officeDocument/2006/relationships/tags" Target="../tags/tag252.xml"/><Relationship Id="rId20" Type="http://schemas.openxmlformats.org/officeDocument/2006/relationships/tags" Target="../tags/tag114.xml"/><Relationship Id="rId41" Type="http://schemas.openxmlformats.org/officeDocument/2006/relationships/tags" Target="../tags/tag135.xml"/><Relationship Id="rId62" Type="http://schemas.openxmlformats.org/officeDocument/2006/relationships/tags" Target="../tags/tag156.xml"/><Relationship Id="rId83" Type="http://schemas.openxmlformats.org/officeDocument/2006/relationships/tags" Target="../tags/tag177.xml"/><Relationship Id="rId88" Type="http://schemas.openxmlformats.org/officeDocument/2006/relationships/tags" Target="../tags/tag182.xml"/><Relationship Id="rId111" Type="http://schemas.openxmlformats.org/officeDocument/2006/relationships/tags" Target="../tags/tag205.xml"/><Relationship Id="rId132" Type="http://schemas.openxmlformats.org/officeDocument/2006/relationships/tags" Target="../tags/tag226.xml"/><Relationship Id="rId153" Type="http://schemas.openxmlformats.org/officeDocument/2006/relationships/tags" Target="../tags/tag247.xml"/><Relationship Id="rId174" Type="http://schemas.openxmlformats.org/officeDocument/2006/relationships/tags" Target="../tags/tag268.xml"/><Relationship Id="rId179" Type="http://schemas.openxmlformats.org/officeDocument/2006/relationships/tags" Target="../tags/tag273.xml"/><Relationship Id="rId15" Type="http://schemas.openxmlformats.org/officeDocument/2006/relationships/tags" Target="../tags/tag109.xml"/><Relationship Id="rId36" Type="http://schemas.openxmlformats.org/officeDocument/2006/relationships/tags" Target="../tags/tag130.xml"/><Relationship Id="rId57" Type="http://schemas.openxmlformats.org/officeDocument/2006/relationships/tags" Target="../tags/tag151.xml"/><Relationship Id="rId106" Type="http://schemas.openxmlformats.org/officeDocument/2006/relationships/tags" Target="../tags/tag200.xml"/><Relationship Id="rId127" Type="http://schemas.openxmlformats.org/officeDocument/2006/relationships/tags" Target="../tags/tag221.xml"/><Relationship Id="rId10" Type="http://schemas.openxmlformats.org/officeDocument/2006/relationships/tags" Target="../tags/tag104.xml"/><Relationship Id="rId31" Type="http://schemas.openxmlformats.org/officeDocument/2006/relationships/tags" Target="../tags/tag125.xml"/><Relationship Id="rId52" Type="http://schemas.openxmlformats.org/officeDocument/2006/relationships/tags" Target="../tags/tag146.xml"/><Relationship Id="rId73" Type="http://schemas.openxmlformats.org/officeDocument/2006/relationships/tags" Target="../tags/tag167.xml"/><Relationship Id="rId78" Type="http://schemas.openxmlformats.org/officeDocument/2006/relationships/tags" Target="../tags/tag172.xml"/><Relationship Id="rId94" Type="http://schemas.openxmlformats.org/officeDocument/2006/relationships/tags" Target="../tags/tag188.xml"/><Relationship Id="rId99" Type="http://schemas.openxmlformats.org/officeDocument/2006/relationships/tags" Target="../tags/tag193.xml"/><Relationship Id="rId101" Type="http://schemas.openxmlformats.org/officeDocument/2006/relationships/tags" Target="../tags/tag195.xml"/><Relationship Id="rId122" Type="http://schemas.openxmlformats.org/officeDocument/2006/relationships/tags" Target="../tags/tag216.xml"/><Relationship Id="rId143" Type="http://schemas.openxmlformats.org/officeDocument/2006/relationships/tags" Target="../tags/tag237.xml"/><Relationship Id="rId148" Type="http://schemas.openxmlformats.org/officeDocument/2006/relationships/tags" Target="../tags/tag242.xml"/><Relationship Id="rId164" Type="http://schemas.openxmlformats.org/officeDocument/2006/relationships/tags" Target="../tags/tag258.xml"/><Relationship Id="rId169" Type="http://schemas.openxmlformats.org/officeDocument/2006/relationships/tags" Target="../tags/tag263.xml"/><Relationship Id="rId185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287.xml"/><Relationship Id="rId18" Type="http://schemas.openxmlformats.org/officeDocument/2006/relationships/tags" Target="../tags/tag292.xml"/><Relationship Id="rId26" Type="http://schemas.openxmlformats.org/officeDocument/2006/relationships/tags" Target="../tags/tag300.xml"/><Relationship Id="rId39" Type="http://schemas.openxmlformats.org/officeDocument/2006/relationships/tags" Target="../tags/tag313.xml"/><Relationship Id="rId21" Type="http://schemas.openxmlformats.org/officeDocument/2006/relationships/tags" Target="../tags/tag295.xml"/><Relationship Id="rId34" Type="http://schemas.openxmlformats.org/officeDocument/2006/relationships/tags" Target="../tags/tag308.xml"/><Relationship Id="rId42" Type="http://schemas.openxmlformats.org/officeDocument/2006/relationships/tags" Target="../tags/tag316.xml"/><Relationship Id="rId47" Type="http://schemas.openxmlformats.org/officeDocument/2006/relationships/tags" Target="../tags/tag321.xml"/><Relationship Id="rId50" Type="http://schemas.openxmlformats.org/officeDocument/2006/relationships/tags" Target="../tags/tag324.xml"/><Relationship Id="rId55" Type="http://schemas.openxmlformats.org/officeDocument/2006/relationships/tags" Target="../tags/tag329.xml"/><Relationship Id="rId63" Type="http://schemas.openxmlformats.org/officeDocument/2006/relationships/tags" Target="../tags/tag337.xml"/><Relationship Id="rId68" Type="http://schemas.openxmlformats.org/officeDocument/2006/relationships/tags" Target="../tags/tag342.xml"/><Relationship Id="rId76" Type="http://schemas.openxmlformats.org/officeDocument/2006/relationships/tags" Target="../tags/tag350.xml"/><Relationship Id="rId7" Type="http://schemas.openxmlformats.org/officeDocument/2006/relationships/tags" Target="../tags/tag281.xml"/><Relationship Id="rId71" Type="http://schemas.openxmlformats.org/officeDocument/2006/relationships/tags" Target="../tags/tag345.xml"/><Relationship Id="rId2" Type="http://schemas.openxmlformats.org/officeDocument/2006/relationships/tags" Target="../tags/tag276.xml"/><Relationship Id="rId16" Type="http://schemas.openxmlformats.org/officeDocument/2006/relationships/tags" Target="../tags/tag290.xml"/><Relationship Id="rId29" Type="http://schemas.openxmlformats.org/officeDocument/2006/relationships/tags" Target="../tags/tag303.xml"/><Relationship Id="rId11" Type="http://schemas.openxmlformats.org/officeDocument/2006/relationships/tags" Target="../tags/tag285.xml"/><Relationship Id="rId24" Type="http://schemas.openxmlformats.org/officeDocument/2006/relationships/tags" Target="../tags/tag298.xml"/><Relationship Id="rId32" Type="http://schemas.openxmlformats.org/officeDocument/2006/relationships/tags" Target="../tags/tag306.xml"/><Relationship Id="rId37" Type="http://schemas.openxmlformats.org/officeDocument/2006/relationships/tags" Target="../tags/tag311.xml"/><Relationship Id="rId40" Type="http://schemas.openxmlformats.org/officeDocument/2006/relationships/tags" Target="../tags/tag314.xml"/><Relationship Id="rId45" Type="http://schemas.openxmlformats.org/officeDocument/2006/relationships/tags" Target="../tags/tag319.xml"/><Relationship Id="rId53" Type="http://schemas.openxmlformats.org/officeDocument/2006/relationships/tags" Target="../tags/tag327.xml"/><Relationship Id="rId58" Type="http://schemas.openxmlformats.org/officeDocument/2006/relationships/tags" Target="../tags/tag332.xml"/><Relationship Id="rId66" Type="http://schemas.openxmlformats.org/officeDocument/2006/relationships/tags" Target="../tags/tag340.xml"/><Relationship Id="rId74" Type="http://schemas.openxmlformats.org/officeDocument/2006/relationships/tags" Target="../tags/tag348.xml"/><Relationship Id="rId79" Type="http://schemas.openxmlformats.org/officeDocument/2006/relationships/slideLayout" Target="../slideLayouts/slideLayout4.xml"/><Relationship Id="rId5" Type="http://schemas.openxmlformats.org/officeDocument/2006/relationships/tags" Target="../tags/tag279.xml"/><Relationship Id="rId61" Type="http://schemas.openxmlformats.org/officeDocument/2006/relationships/tags" Target="../tags/tag335.xml"/><Relationship Id="rId82" Type="http://schemas.openxmlformats.org/officeDocument/2006/relationships/image" Target="../media/image7.emf"/><Relationship Id="rId10" Type="http://schemas.openxmlformats.org/officeDocument/2006/relationships/tags" Target="../tags/tag284.xml"/><Relationship Id="rId19" Type="http://schemas.openxmlformats.org/officeDocument/2006/relationships/tags" Target="../tags/tag293.xml"/><Relationship Id="rId31" Type="http://schemas.openxmlformats.org/officeDocument/2006/relationships/tags" Target="../tags/tag305.xml"/><Relationship Id="rId44" Type="http://schemas.openxmlformats.org/officeDocument/2006/relationships/tags" Target="../tags/tag318.xml"/><Relationship Id="rId52" Type="http://schemas.openxmlformats.org/officeDocument/2006/relationships/tags" Target="../tags/tag326.xml"/><Relationship Id="rId60" Type="http://schemas.openxmlformats.org/officeDocument/2006/relationships/tags" Target="../tags/tag334.xml"/><Relationship Id="rId65" Type="http://schemas.openxmlformats.org/officeDocument/2006/relationships/tags" Target="../tags/tag339.xml"/><Relationship Id="rId73" Type="http://schemas.openxmlformats.org/officeDocument/2006/relationships/tags" Target="../tags/tag347.xml"/><Relationship Id="rId78" Type="http://schemas.openxmlformats.org/officeDocument/2006/relationships/tags" Target="../tags/tag352.xml"/><Relationship Id="rId81" Type="http://schemas.openxmlformats.org/officeDocument/2006/relationships/oleObject" Target="../embeddings/oleObject12.bin"/><Relationship Id="rId4" Type="http://schemas.openxmlformats.org/officeDocument/2006/relationships/tags" Target="../tags/tag278.xml"/><Relationship Id="rId9" Type="http://schemas.openxmlformats.org/officeDocument/2006/relationships/tags" Target="../tags/tag283.xml"/><Relationship Id="rId14" Type="http://schemas.openxmlformats.org/officeDocument/2006/relationships/tags" Target="../tags/tag288.xml"/><Relationship Id="rId22" Type="http://schemas.openxmlformats.org/officeDocument/2006/relationships/tags" Target="../tags/tag296.xml"/><Relationship Id="rId27" Type="http://schemas.openxmlformats.org/officeDocument/2006/relationships/tags" Target="../tags/tag301.xml"/><Relationship Id="rId30" Type="http://schemas.openxmlformats.org/officeDocument/2006/relationships/tags" Target="../tags/tag304.xml"/><Relationship Id="rId35" Type="http://schemas.openxmlformats.org/officeDocument/2006/relationships/tags" Target="../tags/tag309.xml"/><Relationship Id="rId43" Type="http://schemas.openxmlformats.org/officeDocument/2006/relationships/tags" Target="../tags/tag317.xml"/><Relationship Id="rId48" Type="http://schemas.openxmlformats.org/officeDocument/2006/relationships/tags" Target="../tags/tag322.xml"/><Relationship Id="rId56" Type="http://schemas.openxmlformats.org/officeDocument/2006/relationships/tags" Target="../tags/tag330.xml"/><Relationship Id="rId64" Type="http://schemas.openxmlformats.org/officeDocument/2006/relationships/tags" Target="../tags/tag338.xml"/><Relationship Id="rId69" Type="http://schemas.openxmlformats.org/officeDocument/2006/relationships/tags" Target="../tags/tag343.xml"/><Relationship Id="rId77" Type="http://schemas.openxmlformats.org/officeDocument/2006/relationships/tags" Target="../tags/tag351.xml"/><Relationship Id="rId8" Type="http://schemas.openxmlformats.org/officeDocument/2006/relationships/tags" Target="../tags/tag282.xml"/><Relationship Id="rId51" Type="http://schemas.openxmlformats.org/officeDocument/2006/relationships/tags" Target="../tags/tag325.xml"/><Relationship Id="rId72" Type="http://schemas.openxmlformats.org/officeDocument/2006/relationships/tags" Target="../tags/tag346.xml"/><Relationship Id="rId80" Type="http://schemas.openxmlformats.org/officeDocument/2006/relationships/notesSlide" Target="../notesSlides/notesSlide5.xml"/><Relationship Id="rId3" Type="http://schemas.openxmlformats.org/officeDocument/2006/relationships/tags" Target="../tags/tag277.xml"/><Relationship Id="rId12" Type="http://schemas.openxmlformats.org/officeDocument/2006/relationships/tags" Target="../tags/tag286.xml"/><Relationship Id="rId17" Type="http://schemas.openxmlformats.org/officeDocument/2006/relationships/tags" Target="../tags/tag291.xml"/><Relationship Id="rId25" Type="http://schemas.openxmlformats.org/officeDocument/2006/relationships/tags" Target="../tags/tag299.xml"/><Relationship Id="rId33" Type="http://schemas.openxmlformats.org/officeDocument/2006/relationships/tags" Target="../tags/tag307.xml"/><Relationship Id="rId38" Type="http://schemas.openxmlformats.org/officeDocument/2006/relationships/tags" Target="../tags/tag312.xml"/><Relationship Id="rId46" Type="http://schemas.openxmlformats.org/officeDocument/2006/relationships/tags" Target="../tags/tag320.xml"/><Relationship Id="rId59" Type="http://schemas.openxmlformats.org/officeDocument/2006/relationships/tags" Target="../tags/tag333.xml"/><Relationship Id="rId67" Type="http://schemas.openxmlformats.org/officeDocument/2006/relationships/tags" Target="../tags/tag341.xml"/><Relationship Id="rId20" Type="http://schemas.openxmlformats.org/officeDocument/2006/relationships/tags" Target="../tags/tag294.xml"/><Relationship Id="rId41" Type="http://schemas.openxmlformats.org/officeDocument/2006/relationships/tags" Target="../tags/tag315.xml"/><Relationship Id="rId54" Type="http://schemas.openxmlformats.org/officeDocument/2006/relationships/tags" Target="../tags/tag328.xml"/><Relationship Id="rId62" Type="http://schemas.openxmlformats.org/officeDocument/2006/relationships/tags" Target="../tags/tag336.xml"/><Relationship Id="rId70" Type="http://schemas.openxmlformats.org/officeDocument/2006/relationships/tags" Target="../tags/tag344.xml"/><Relationship Id="rId75" Type="http://schemas.openxmlformats.org/officeDocument/2006/relationships/tags" Target="../tags/tag349.xml"/><Relationship Id="rId83" Type="http://schemas.openxmlformats.org/officeDocument/2006/relationships/chart" Target="../charts/chart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80.xml"/><Relationship Id="rId15" Type="http://schemas.openxmlformats.org/officeDocument/2006/relationships/tags" Target="../tags/tag289.xml"/><Relationship Id="rId23" Type="http://schemas.openxmlformats.org/officeDocument/2006/relationships/tags" Target="../tags/tag297.xml"/><Relationship Id="rId28" Type="http://schemas.openxmlformats.org/officeDocument/2006/relationships/tags" Target="../tags/tag302.xml"/><Relationship Id="rId36" Type="http://schemas.openxmlformats.org/officeDocument/2006/relationships/tags" Target="../tags/tag310.xml"/><Relationship Id="rId49" Type="http://schemas.openxmlformats.org/officeDocument/2006/relationships/tags" Target="../tags/tag323.xml"/><Relationship Id="rId57" Type="http://schemas.openxmlformats.org/officeDocument/2006/relationships/tags" Target="../tags/tag3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141998"/>
              </p:ext>
            </p:extLst>
          </p:nvPr>
        </p:nvGraphicFramePr>
        <p:xfrm>
          <a:off x="1588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62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801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ts val="3988"/>
              </a:lnSpc>
              <a:spcBef>
                <a:spcPct val="0"/>
              </a:spcBef>
            </a:pPr>
            <a:endParaRPr kumimoji="0" lang="en-GB" sz="28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4470403" y="2798764"/>
            <a:ext cx="2935288" cy="560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7483" tIns="33741" rIns="67483" bIns="33741">
            <a:spAutoFit/>
          </a:bodyPr>
          <a:lstStyle>
            <a:lvl1pPr defTabSz="674688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674688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en-US" altLang="zh-CN" sz="3200" dirty="0">
                <a:solidFill>
                  <a:schemeClr val="bg1"/>
                </a:solidFill>
                <a:ea typeface="宋体" pitchFamily="2" charset="-122"/>
              </a:rPr>
              <a:t>BILD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69899" y="4138617"/>
            <a:ext cx="9088437" cy="574675"/>
          </a:xfrm>
        </p:spPr>
        <p:txBody>
          <a:bodyPr/>
          <a:lstStyle/>
          <a:p>
            <a:r>
              <a:rPr lang="da-DK" dirty="0" smtClean="0"/>
              <a:t>PR69.OP Volkswagen Group China </a:t>
            </a:r>
            <a:r>
              <a:rPr lang="en-GB" dirty="0" smtClean="0"/>
              <a:t>Volume </a:t>
            </a:r>
            <a:r>
              <a:rPr lang="en-GB" dirty="0"/>
              <a:t>Presentation</a:t>
            </a:r>
            <a:endParaRPr lang="en-US" altLang="zh-CN" sz="2800" dirty="0" smtClean="0">
              <a:ea typeface="宋体" pitchFamily="2" charset="-122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altLang="zh-CN" dirty="0" smtClean="0"/>
              <a:t>Date</a:t>
            </a:r>
            <a:endParaRPr lang="en-US" dirty="0"/>
          </a:p>
        </p:txBody>
      </p:sp>
      <p:pic>
        <p:nvPicPr>
          <p:cNvPr id="3077" name="Picture 6" descr="Titel_Illu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25" y="1755775"/>
            <a:ext cx="9055100" cy="217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014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44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45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R69 OP</a:t>
            </a:r>
            <a:r>
              <a:rPr lang="en-US" dirty="0"/>
              <a:t> Volkswagen Group China</a:t>
            </a:r>
            <a:r>
              <a:rPr lang="en-US" altLang="zh-CN" dirty="0" smtClean="0"/>
              <a:t> Volume Planning Statu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6350" y="1872919"/>
            <a:ext cx="8703240" cy="346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9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34047" y="265235"/>
          <a:ext cx="1353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4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34047" y="265235"/>
                        <a:ext cx="1353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732693" y="263769"/>
            <a:ext cx="146538" cy="1465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22804" fontAlgn="auto">
              <a:lnSpc>
                <a:spcPct val="110000"/>
              </a:lnSpc>
              <a:spcBef>
                <a:spcPct val="0"/>
              </a:spcBef>
            </a:pPr>
            <a:endParaRPr lang="en-GB" sz="1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5" name="Rectangle 4"/>
          <p:cNvSpPr txBox="1">
            <a:spLocks noChangeArrowheads="1"/>
          </p:cNvSpPr>
          <p:nvPr/>
        </p:nvSpPr>
        <p:spPr>
          <a:xfrm>
            <a:off x="357188" y="1582738"/>
            <a:ext cx="9191625" cy="4191000"/>
          </a:xfrm>
          <a:prstGeom prst="rect">
            <a:avLst/>
          </a:prstGeom>
          <a:noFill/>
        </p:spPr>
        <p:txBody>
          <a:bodyPr/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161196" indent="-161196"/>
            <a:r>
              <a:rPr lang="en-GB" sz="1200" b="1" kern="0" dirty="0">
                <a:solidFill>
                  <a:srgbClr val="000000"/>
                </a:solidFill>
              </a:rPr>
              <a:t>Total </a:t>
            </a:r>
            <a:r>
              <a:rPr lang="en-GB" sz="1200" b="1" kern="0" dirty="0" smtClean="0">
                <a:solidFill>
                  <a:srgbClr val="000000"/>
                </a:solidFill>
              </a:rPr>
              <a:t>Market VS. PR69.SP </a:t>
            </a:r>
            <a:r>
              <a:rPr lang="en-GB" sz="1200" b="1" kern="0" dirty="0">
                <a:solidFill>
                  <a:srgbClr val="000000"/>
                </a:solidFill>
              </a:rPr>
              <a:t>(</a:t>
            </a:r>
            <a:r>
              <a:rPr lang="en-GB" sz="1200" b="1" kern="0" dirty="0" smtClean="0">
                <a:solidFill>
                  <a:srgbClr val="000000"/>
                </a:solidFill>
              </a:rPr>
              <a:t>2020-2030):  </a:t>
            </a:r>
            <a:r>
              <a:rPr lang="en-GB" sz="1200" b="1" kern="0" dirty="0" smtClean="0">
                <a:solidFill>
                  <a:srgbClr val="000000"/>
                </a:solidFill>
              </a:rPr>
              <a:t>XX</a:t>
            </a:r>
            <a:r>
              <a:rPr lang="en-GB" sz="1200" b="1" kern="0" dirty="0" smtClean="0">
                <a:solidFill>
                  <a:srgbClr val="000000"/>
                </a:solidFill>
              </a:rPr>
              <a:t> </a:t>
            </a:r>
            <a:r>
              <a:rPr lang="en-GB" sz="1200" b="1" kern="0" dirty="0" smtClean="0">
                <a:solidFill>
                  <a:srgbClr val="000000"/>
                </a:solidFill>
              </a:rPr>
              <a:t>Million </a:t>
            </a:r>
            <a:r>
              <a:rPr lang="en-GB" sz="1200" b="1" kern="0" dirty="0" smtClean="0">
                <a:solidFill>
                  <a:srgbClr val="000000"/>
                </a:solidFill>
              </a:rPr>
              <a:t>(XX%); </a:t>
            </a:r>
            <a:r>
              <a:rPr lang="en-GB" sz="1200" b="1" kern="0" dirty="0">
                <a:solidFill>
                  <a:srgbClr val="000000"/>
                </a:solidFill>
              </a:rPr>
              <a:t>NEV Market: </a:t>
            </a:r>
            <a:r>
              <a:rPr lang="en-GB" sz="1200" b="1" kern="0" dirty="0" smtClean="0">
                <a:solidFill>
                  <a:srgbClr val="000000"/>
                </a:solidFill>
              </a:rPr>
              <a:t>XX</a:t>
            </a:r>
            <a:r>
              <a:rPr lang="en-GB" sz="1200" b="1" kern="0" dirty="0" smtClean="0">
                <a:solidFill>
                  <a:srgbClr val="000000"/>
                </a:solidFill>
              </a:rPr>
              <a:t> </a:t>
            </a:r>
            <a:r>
              <a:rPr lang="en-GB" sz="1200" b="1" kern="0" dirty="0" smtClean="0">
                <a:solidFill>
                  <a:srgbClr val="000000"/>
                </a:solidFill>
              </a:rPr>
              <a:t>Million </a:t>
            </a:r>
            <a:r>
              <a:rPr lang="en-GB" sz="1200" b="1" kern="0" dirty="0" smtClean="0">
                <a:solidFill>
                  <a:srgbClr val="000000"/>
                </a:solidFill>
              </a:rPr>
              <a:t>(XX%)</a:t>
            </a:r>
            <a:endParaRPr lang="en-GB" sz="1200" b="1" kern="0" dirty="0">
              <a:solidFill>
                <a:srgbClr val="000000"/>
              </a:solidFill>
            </a:endParaRPr>
          </a:p>
          <a:p>
            <a:pPr marL="351696" lvl="1" indent="-161196"/>
            <a:r>
              <a:rPr lang="en-GB" sz="1200" kern="0" dirty="0" smtClean="0">
                <a:solidFill>
                  <a:srgbClr val="000000"/>
                </a:solidFill>
              </a:rPr>
              <a:t>Comments</a:t>
            </a:r>
            <a:endParaRPr lang="en-GB" sz="1200" kern="0" dirty="0">
              <a:solidFill>
                <a:srgbClr val="000000"/>
              </a:solidFill>
            </a:endParaRP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</a:p>
          <a:p>
            <a:pPr marL="161196" indent="-161196"/>
            <a:endParaRPr lang="en-GB" sz="1200" b="1" kern="0" dirty="0">
              <a:solidFill>
                <a:srgbClr val="000000"/>
              </a:solidFill>
            </a:endParaRPr>
          </a:p>
          <a:p>
            <a:pPr marL="161196" indent="-161196"/>
            <a:r>
              <a:rPr lang="en-GB" sz="1200" b="1" kern="0" dirty="0">
                <a:solidFill>
                  <a:srgbClr val="000000"/>
                </a:solidFill>
              </a:rPr>
              <a:t>Volkswagen Group China </a:t>
            </a:r>
            <a:r>
              <a:rPr lang="en-GB" sz="1200" b="1" kern="0" dirty="0" smtClean="0">
                <a:solidFill>
                  <a:srgbClr val="000000"/>
                </a:solidFill>
              </a:rPr>
              <a:t>VS. PR69.SP </a:t>
            </a:r>
            <a:r>
              <a:rPr lang="en-GB" sz="1200" b="1" kern="0" dirty="0">
                <a:solidFill>
                  <a:srgbClr val="000000"/>
                </a:solidFill>
              </a:rPr>
              <a:t>(</a:t>
            </a:r>
            <a:r>
              <a:rPr lang="en-GB" sz="1200" b="1" kern="0" dirty="0" smtClean="0">
                <a:solidFill>
                  <a:srgbClr val="000000"/>
                </a:solidFill>
              </a:rPr>
              <a:t>2020-2030): </a:t>
            </a:r>
            <a:r>
              <a:rPr lang="en-GB" sz="1200" b="1" kern="0" dirty="0" smtClean="0">
                <a:solidFill>
                  <a:srgbClr val="000000"/>
                </a:solidFill>
              </a:rPr>
              <a:t>XX</a:t>
            </a:r>
            <a:r>
              <a:rPr lang="en-GB" sz="1200" b="1" kern="0" dirty="0" smtClean="0">
                <a:solidFill>
                  <a:srgbClr val="000000"/>
                </a:solidFill>
              </a:rPr>
              <a:t> </a:t>
            </a:r>
            <a:r>
              <a:rPr lang="en-GB" sz="1200" b="1" kern="0" dirty="0">
                <a:solidFill>
                  <a:srgbClr val="000000"/>
                </a:solidFill>
              </a:rPr>
              <a:t>Million </a:t>
            </a:r>
            <a:r>
              <a:rPr lang="en-GB" sz="1200" b="1" kern="0" dirty="0" smtClean="0">
                <a:solidFill>
                  <a:srgbClr val="000000"/>
                </a:solidFill>
              </a:rPr>
              <a:t>(XX%); </a:t>
            </a:r>
            <a:r>
              <a:rPr lang="en-GB" sz="1200" b="1" kern="0" dirty="0">
                <a:solidFill>
                  <a:srgbClr val="000000"/>
                </a:solidFill>
              </a:rPr>
              <a:t>NEV Volume: </a:t>
            </a:r>
            <a:r>
              <a:rPr lang="en-GB" sz="1200" b="1" kern="0" dirty="0" smtClean="0">
                <a:solidFill>
                  <a:srgbClr val="000000"/>
                </a:solidFill>
              </a:rPr>
              <a:t>XX </a:t>
            </a:r>
            <a:r>
              <a:rPr lang="en-GB" sz="1200" b="1" kern="0" dirty="0">
                <a:solidFill>
                  <a:srgbClr val="000000"/>
                </a:solidFill>
              </a:rPr>
              <a:t>Million </a:t>
            </a:r>
            <a:r>
              <a:rPr lang="en-GB" sz="1200" b="1" kern="0" dirty="0" smtClean="0">
                <a:solidFill>
                  <a:srgbClr val="000000"/>
                </a:solidFill>
              </a:rPr>
              <a:t>(XX%)</a:t>
            </a:r>
            <a:endParaRPr lang="en-GB" sz="1200" kern="0" dirty="0">
              <a:solidFill>
                <a:srgbClr val="000000"/>
              </a:solidFill>
            </a:endParaRP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  <a:endParaRPr lang="en-GB" sz="1200" kern="0" dirty="0">
              <a:solidFill>
                <a:srgbClr val="000000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000" dirty="0"/>
              <a:t>Executive Summary – VGC PR69.OP Volume Plan( 1/2)</a:t>
            </a:r>
            <a:endParaRPr lang="en-US" sz="2000" kern="0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855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34047" y="265235"/>
          <a:ext cx="1353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4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34047" y="265235"/>
                        <a:ext cx="1353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732693" y="263769"/>
            <a:ext cx="146538" cy="1465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22804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GB" sz="1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5" name="Rectangle 4"/>
          <p:cNvSpPr txBox="1">
            <a:spLocks noChangeArrowheads="1"/>
          </p:cNvSpPr>
          <p:nvPr/>
        </p:nvSpPr>
        <p:spPr>
          <a:xfrm>
            <a:off x="400845" y="1628986"/>
            <a:ext cx="9104311" cy="4642337"/>
          </a:xfrm>
          <a:prstGeom prst="rect">
            <a:avLst/>
          </a:prstGeom>
          <a:noFill/>
        </p:spPr>
        <p:txBody>
          <a:bodyPr/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161196" indent="-161196">
              <a:lnSpc>
                <a:spcPts val="1800"/>
              </a:lnSpc>
            </a:pPr>
            <a:r>
              <a:rPr lang="en-GB" sz="1200" b="1" kern="0" dirty="0">
                <a:solidFill>
                  <a:srgbClr val="000000"/>
                </a:solidFill>
              </a:rPr>
              <a:t>Volkswagen Brand </a:t>
            </a:r>
            <a:r>
              <a:rPr lang="en-GB" sz="1200" b="1" kern="0" dirty="0" smtClean="0">
                <a:solidFill>
                  <a:srgbClr val="000000"/>
                </a:solidFill>
              </a:rPr>
              <a:t>VS</a:t>
            </a:r>
            <a:r>
              <a:rPr lang="en-GB" sz="1200" b="1" kern="0" dirty="0" smtClean="0">
                <a:solidFill>
                  <a:srgbClr val="FF0000"/>
                </a:solidFill>
              </a:rPr>
              <a:t>. PR69.SP </a:t>
            </a:r>
            <a:r>
              <a:rPr lang="en-GB" sz="1200" b="1" kern="0" dirty="0">
                <a:solidFill>
                  <a:srgbClr val="000000"/>
                </a:solidFill>
              </a:rPr>
              <a:t>(</a:t>
            </a:r>
            <a:r>
              <a:rPr lang="en-GB" sz="1200" b="1" kern="0" dirty="0" smtClean="0">
                <a:solidFill>
                  <a:srgbClr val="000000"/>
                </a:solidFill>
              </a:rPr>
              <a:t>2020-2030): 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XX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k</a:t>
            </a:r>
            <a:r>
              <a:rPr lang="en-GB" sz="1200" b="1" kern="0" dirty="0" smtClean="0">
                <a:solidFill>
                  <a:srgbClr val="000000"/>
                </a:solidFill>
              </a:rPr>
              <a:t> (XX%); </a:t>
            </a:r>
            <a:r>
              <a:rPr lang="en-GB" sz="1200" b="1" kern="0" dirty="0">
                <a:solidFill>
                  <a:srgbClr val="000000"/>
                </a:solidFill>
              </a:rPr>
              <a:t>NEV Volume: 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XX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k</a:t>
            </a:r>
            <a:r>
              <a:rPr lang="en-GB" sz="1200" b="1" kern="0" dirty="0" smtClean="0">
                <a:solidFill>
                  <a:srgbClr val="000000"/>
                </a:solidFill>
              </a:rPr>
              <a:t> (XX%)</a:t>
            </a:r>
            <a:endParaRPr lang="en-GB" sz="1200" kern="0" dirty="0">
              <a:solidFill>
                <a:srgbClr val="000000"/>
              </a:solidFill>
            </a:endParaRPr>
          </a:p>
          <a:p>
            <a:pPr marL="351696" lvl="1" indent="-161196"/>
            <a:r>
              <a:rPr lang="en-GB" sz="1100" kern="0" dirty="0">
                <a:solidFill>
                  <a:srgbClr val="000000"/>
                </a:solidFill>
              </a:rPr>
              <a:t>Comments</a:t>
            </a:r>
          </a:p>
          <a:p>
            <a:pPr marL="351696" lvl="1" indent="-161196"/>
            <a:r>
              <a:rPr lang="en-GB" sz="1100" kern="0" dirty="0">
                <a:solidFill>
                  <a:srgbClr val="000000"/>
                </a:solidFill>
              </a:rPr>
              <a:t>Comments</a:t>
            </a:r>
          </a:p>
          <a:p>
            <a:pPr marL="351696" lvl="1" indent="-161196"/>
            <a:r>
              <a:rPr lang="en-GB" sz="1100" kern="0" dirty="0">
                <a:solidFill>
                  <a:srgbClr val="000000"/>
                </a:solidFill>
              </a:rPr>
              <a:t>Comments</a:t>
            </a:r>
          </a:p>
          <a:p>
            <a:pPr marL="351696" lvl="1" indent="-161196"/>
            <a:r>
              <a:rPr lang="en-GB" sz="1100" kern="0" dirty="0">
                <a:solidFill>
                  <a:srgbClr val="000000"/>
                </a:solidFill>
              </a:rPr>
              <a:t>Comments</a:t>
            </a:r>
          </a:p>
          <a:p>
            <a:pPr>
              <a:lnSpc>
                <a:spcPts val="1800"/>
              </a:lnSpc>
            </a:pPr>
            <a:r>
              <a:rPr lang="en-GB" sz="1200" b="1" kern="0" dirty="0" smtClean="0">
                <a:solidFill>
                  <a:srgbClr val="000000"/>
                </a:solidFill>
              </a:rPr>
              <a:t>Jetta </a:t>
            </a:r>
            <a:r>
              <a:rPr lang="en-GB" sz="1200" b="1" kern="0" dirty="0">
                <a:solidFill>
                  <a:srgbClr val="000000"/>
                </a:solidFill>
              </a:rPr>
              <a:t>Brand </a:t>
            </a:r>
            <a:r>
              <a:rPr lang="en-GB" sz="1200" b="1" kern="0" dirty="0" smtClean="0">
                <a:solidFill>
                  <a:srgbClr val="000000"/>
                </a:solidFill>
              </a:rPr>
              <a:t>VS. PR69.SP </a:t>
            </a:r>
            <a:r>
              <a:rPr lang="en-GB" sz="1200" b="1" kern="0" dirty="0">
                <a:solidFill>
                  <a:srgbClr val="000000"/>
                </a:solidFill>
              </a:rPr>
              <a:t>(</a:t>
            </a:r>
            <a:r>
              <a:rPr lang="en-GB" sz="1200" b="1" kern="0" dirty="0" smtClean="0">
                <a:solidFill>
                  <a:srgbClr val="000000"/>
                </a:solidFill>
              </a:rPr>
              <a:t>2020-2030): 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XX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k</a:t>
            </a:r>
            <a:r>
              <a:rPr lang="en-GB" sz="1200" b="1" kern="0" dirty="0" smtClean="0">
                <a:solidFill>
                  <a:srgbClr val="000000"/>
                </a:solidFill>
              </a:rPr>
              <a:t> (XX%); </a:t>
            </a:r>
            <a:r>
              <a:rPr lang="en-GB" sz="1200" b="1" kern="0" dirty="0">
                <a:solidFill>
                  <a:srgbClr val="000000"/>
                </a:solidFill>
              </a:rPr>
              <a:t>No NEV products</a:t>
            </a:r>
            <a:endParaRPr lang="en-GB" sz="1200" kern="0" dirty="0">
              <a:solidFill>
                <a:srgbClr val="000000"/>
              </a:solidFill>
            </a:endParaRP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</a:p>
          <a:p>
            <a:pPr marL="161196" indent="-161196">
              <a:lnSpc>
                <a:spcPts val="1800"/>
              </a:lnSpc>
            </a:pPr>
            <a:r>
              <a:rPr lang="en-GB" sz="1200" b="1" kern="0" dirty="0" err="1" smtClean="0">
                <a:solidFill>
                  <a:srgbClr val="000000"/>
                </a:solidFill>
              </a:rPr>
              <a:t>Cupra</a:t>
            </a:r>
            <a:r>
              <a:rPr lang="en-GB" sz="1200" b="1" kern="0" dirty="0" smtClean="0">
                <a:solidFill>
                  <a:srgbClr val="000000"/>
                </a:solidFill>
              </a:rPr>
              <a:t> </a:t>
            </a:r>
            <a:r>
              <a:rPr lang="en-GB" sz="1200" b="1" kern="0" dirty="0">
                <a:solidFill>
                  <a:srgbClr val="000000"/>
                </a:solidFill>
              </a:rPr>
              <a:t>Brand VS. PR69.SP (2020-2030</a:t>
            </a:r>
            <a:r>
              <a:rPr lang="en-GB" sz="1200" b="1" kern="0" dirty="0" smtClean="0">
                <a:solidFill>
                  <a:srgbClr val="000000"/>
                </a:solidFill>
              </a:rPr>
              <a:t>): 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XXk</a:t>
            </a:r>
            <a:r>
              <a:rPr lang="en-GB" sz="1200" b="1" kern="0" dirty="0" smtClean="0">
                <a:solidFill>
                  <a:srgbClr val="000000"/>
                </a:solidFill>
              </a:rPr>
              <a:t> (XX%); </a:t>
            </a:r>
            <a:r>
              <a:rPr lang="en-GB" sz="1200" b="1" kern="0" dirty="0">
                <a:solidFill>
                  <a:srgbClr val="000000"/>
                </a:solidFill>
              </a:rPr>
              <a:t>No ICE products</a:t>
            </a:r>
            <a:endParaRPr lang="en-GB" sz="1200" kern="0" dirty="0">
              <a:solidFill>
                <a:srgbClr val="000000"/>
              </a:solidFill>
            </a:endParaRP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</a:p>
          <a:p>
            <a:pPr marL="161196" indent="-161196">
              <a:lnSpc>
                <a:spcPts val="1800"/>
              </a:lnSpc>
            </a:pPr>
            <a:r>
              <a:rPr lang="en-GB" sz="1200" b="1" kern="0" dirty="0" smtClean="0">
                <a:solidFill>
                  <a:srgbClr val="000000"/>
                </a:solidFill>
              </a:rPr>
              <a:t>Audi </a:t>
            </a:r>
            <a:r>
              <a:rPr lang="en-GB" sz="1200" b="1" kern="0" dirty="0">
                <a:solidFill>
                  <a:srgbClr val="000000"/>
                </a:solidFill>
              </a:rPr>
              <a:t>Brand </a:t>
            </a:r>
            <a:r>
              <a:rPr lang="en-GB" sz="1200" b="1" kern="0" dirty="0" smtClean="0">
                <a:solidFill>
                  <a:srgbClr val="000000"/>
                </a:solidFill>
              </a:rPr>
              <a:t>VS. PR69.SP </a:t>
            </a:r>
            <a:r>
              <a:rPr lang="en-GB" sz="1200" b="1" kern="0" dirty="0">
                <a:solidFill>
                  <a:srgbClr val="000000"/>
                </a:solidFill>
              </a:rPr>
              <a:t>(</a:t>
            </a:r>
            <a:r>
              <a:rPr lang="en-GB" sz="1200" b="1" kern="0" dirty="0" smtClean="0">
                <a:solidFill>
                  <a:srgbClr val="000000"/>
                </a:solidFill>
              </a:rPr>
              <a:t>2020-2030): 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XX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k</a:t>
            </a:r>
            <a:r>
              <a:rPr lang="en-GB" sz="1200" b="1" kern="0" dirty="0" smtClean="0">
                <a:solidFill>
                  <a:srgbClr val="000000"/>
                </a:solidFill>
              </a:rPr>
              <a:t> (XX%);  </a:t>
            </a:r>
            <a:r>
              <a:rPr lang="en-GB" sz="1200" b="1" kern="0" dirty="0">
                <a:solidFill>
                  <a:srgbClr val="000000"/>
                </a:solidFill>
              </a:rPr>
              <a:t>NEV Volume: </a:t>
            </a:r>
            <a:r>
              <a:rPr lang="en-GB" sz="1200" b="1" kern="0" dirty="0" smtClean="0">
                <a:solidFill>
                  <a:srgbClr val="000000"/>
                </a:solidFill>
              </a:rPr>
              <a:t> </a:t>
            </a:r>
            <a:r>
              <a:rPr lang="en-GB" sz="1200" b="1" kern="0" dirty="0" smtClean="0">
                <a:solidFill>
                  <a:srgbClr val="000000"/>
                </a:solidFill>
              </a:rPr>
              <a:t>XX</a:t>
            </a:r>
            <a:r>
              <a:rPr lang="en-GB" sz="1200" b="1" kern="0" dirty="0" smtClean="0">
                <a:solidFill>
                  <a:srgbClr val="000000"/>
                </a:solidFill>
              </a:rPr>
              <a:t>(XX%)</a:t>
            </a:r>
            <a:endParaRPr lang="en-GB" sz="1200" kern="0" dirty="0">
              <a:solidFill>
                <a:srgbClr val="000000"/>
              </a:solidFill>
            </a:endParaRP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</a:p>
          <a:p>
            <a:pPr marL="161196" indent="-161196">
              <a:lnSpc>
                <a:spcPts val="1800"/>
              </a:lnSpc>
            </a:pPr>
            <a:r>
              <a:rPr lang="en-GB" sz="1200" b="1" kern="0" dirty="0" smtClean="0">
                <a:solidFill>
                  <a:srgbClr val="000000"/>
                </a:solidFill>
              </a:rPr>
              <a:t>Skoda </a:t>
            </a:r>
            <a:r>
              <a:rPr lang="en-GB" sz="1200" b="1" kern="0" dirty="0">
                <a:solidFill>
                  <a:srgbClr val="000000"/>
                </a:solidFill>
              </a:rPr>
              <a:t>Brand </a:t>
            </a:r>
            <a:r>
              <a:rPr lang="en-GB" sz="1200" b="1" kern="0" dirty="0" smtClean="0">
                <a:solidFill>
                  <a:srgbClr val="000000"/>
                </a:solidFill>
              </a:rPr>
              <a:t>VS. PR69.SP </a:t>
            </a:r>
            <a:r>
              <a:rPr lang="en-GB" sz="1200" b="1" kern="0" dirty="0">
                <a:solidFill>
                  <a:srgbClr val="000000"/>
                </a:solidFill>
              </a:rPr>
              <a:t>(</a:t>
            </a:r>
            <a:r>
              <a:rPr lang="en-GB" sz="1200" b="1" kern="0" dirty="0" smtClean="0">
                <a:solidFill>
                  <a:srgbClr val="000000"/>
                </a:solidFill>
              </a:rPr>
              <a:t>2020-2030): 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XX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k</a:t>
            </a:r>
            <a:r>
              <a:rPr lang="en-GB" sz="1200" b="1" kern="0" dirty="0" smtClean="0">
                <a:solidFill>
                  <a:srgbClr val="000000"/>
                </a:solidFill>
              </a:rPr>
              <a:t> (XX%);  </a:t>
            </a:r>
            <a:r>
              <a:rPr lang="en-GB" sz="1200" b="1" kern="0" dirty="0">
                <a:solidFill>
                  <a:srgbClr val="000000"/>
                </a:solidFill>
              </a:rPr>
              <a:t>NEV Volume: 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XXk</a:t>
            </a:r>
            <a:r>
              <a:rPr lang="en-GB" sz="1200" b="1" kern="0" dirty="0" smtClean="0">
                <a:solidFill>
                  <a:srgbClr val="000000"/>
                </a:solidFill>
              </a:rPr>
              <a:t> (</a:t>
            </a:r>
            <a:r>
              <a:rPr lang="en-GB" sz="1200" b="1" kern="0" dirty="0" err="1" smtClean="0">
                <a:solidFill>
                  <a:srgbClr val="000000"/>
                </a:solidFill>
              </a:rPr>
              <a:t>XXx</a:t>
            </a:r>
            <a:r>
              <a:rPr lang="en-GB" sz="1200" b="1" kern="0" dirty="0" smtClean="0">
                <a:solidFill>
                  <a:srgbClr val="000000"/>
                </a:solidFill>
              </a:rPr>
              <a:t>%);</a:t>
            </a:r>
            <a:endParaRPr lang="en-GB" sz="1200" b="1" kern="0" dirty="0" smtClean="0">
              <a:solidFill>
                <a:srgbClr val="000000"/>
              </a:solidFill>
            </a:endParaRPr>
          </a:p>
          <a:p>
            <a:pPr marL="351696" lvl="1" indent="-161196"/>
            <a:r>
              <a:rPr lang="en-GB" sz="1200" kern="0" dirty="0">
                <a:solidFill>
                  <a:srgbClr val="000000"/>
                </a:solidFill>
              </a:rPr>
              <a:t>Comments</a:t>
            </a:r>
            <a:endParaRPr lang="en-GB" sz="1200" kern="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cutive Summary – VGC PR69.OP Volume Plan( </a:t>
            </a:r>
            <a:r>
              <a:rPr lang="en-GB" dirty="0" smtClean="0"/>
              <a:t>2/2)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330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29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350" name="think-cell Slide" r:id="rId73" imgW="470" imgH="469" progId="TCLayout.ActiveDocument.1">
                  <p:embed/>
                </p:oleObj>
              </mc:Choice>
              <mc:Fallback>
                <p:oleObj name="think-cell Slide" r:id="rId73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lkswagen Group China (CKD &amp; FBU) </a:t>
            </a:r>
            <a:r>
              <a:rPr lang="en-US" dirty="0" smtClean="0"/>
              <a:t>PR69.OP </a:t>
            </a:r>
            <a:r>
              <a:rPr lang="en-US" dirty="0"/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104" name="Chart 10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33409767"/>
              </p:ext>
            </p:extLst>
          </p:nvPr>
        </p:nvGraphicFramePr>
        <p:xfrm>
          <a:off x="1136650" y="2709863"/>
          <a:ext cx="8431213" cy="3049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38" name="Rectangle 3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202113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B3049D8-BAF7-4370-ACEB-3F8F6265BD82}" type="datetime'''''''''2''''''''''0''''''''''''''''''2''''''''''3''''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3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155825" y="4416425"/>
            <a:ext cx="195263" cy="13335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3D9E4F0-2A2F-479B-B7BF-FCCB3FE46D82}" type="datetime'''''''''''''''''''1''''''''0''''''''''''''''''''''''''0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10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6977063" y="3459163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C9E004-85AB-4C5A-99A8-CA2B411FFF5A}" type="datetime'''''4''''''''''''''''''''''''''5''''''0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5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5541964" y="3673475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55C070D-8607-4D60-966E-508170690AA4}" type="datetime'''''''''''''''''35''''0''''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50</a:t>
            </a:fld>
            <a: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800" b="1" smtClean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(</a:t>
            </a:r>
            <a:fld id="{B19D9262-CDE4-4710-9EB0-1AB4D82F39D1}" type="datetime'''4.''''''''8''''''''''''%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r>
              <a:rPr lang="en-US" altLang="en-US" sz="800" b="1" smtClean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4181475" y="482917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F822EB2-7B25-4C63-AC79-C7BE825B3245}" type="datetime'''''''''''''''6,''''''''''''''''''0''0''''''''0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493838" y="45608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4DB623E-199A-47F7-8CCD-40C0BDD17DAC}" type="datetime'''''''''''''''''''''''''''''''''''''''''''''50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666038" y="3321050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C0F9196-406D-42EF-A315-7015EB3EA555}" type="datetime'''''''''''''''''''''''''''''''''5''''''''0''''0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376363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88A5144-0757-4C83-90DC-8972954D57DF}" type="datetime'20''''''''''''.''''''''''''''''''''''''''''''''''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9023350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A0427FB-3C8A-4011-B704-14A214B04D85}" type="datetime'''''''''''2''''''''''''0''''3''''''''''''''''0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30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891088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9F3CCD4-3BA8-4FB5-BE23-76A7F9A3F63E}" type="datetime'''''''''''''2''''''''''''0''''2''4''''''''''''''''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4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425575" y="5091113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2D8867C-E48E-4D9D-86B9-739433D99D2A}" type="datetime'''''''''''''''''''''4'''',''''''''''00''''''''''''0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557838" y="4692650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137D83B-D62E-4FC9-88A3-3A6140ED843E}" type="datetime'''7'''',0''00'''''''''''''''''''''''''">
              <a:rPr lang="en-US" altLang="en-US" sz="8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7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446213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F20ADE8-9339-4367-A7B5-05721C20C669}" type="datetime'''''2''''''''''''''''''0''''''''''''''''''''1''''''''''9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19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114550" y="5019675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D672F3E-0DF2-4DB8-A2D5-92629B591159}" type="datetime'''''''''''''''''''''''''''''''''''''''4'',''5''''''0''''''0'''">
              <a:rPr lang="en-US" altLang="en-US" sz="8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,5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6211888" y="342741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5EC1087-502C-4147-BD52-86A476B8EC82}" type="datetime'7'''''''''''''''''''''',9''''0''''0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,90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8264525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3D72222-22B0-4996-B147-4DA7D0A61922}" type="datetime'''''''''''20''''''''''''''''''''''''''.''''''''''0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578475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CB955E8-DE78-4CAE-AF77-F687F501E968}" type="datetime'''''''''''''''''''''2''''''''''''''0''''''2''''5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5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2824163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4C227A6-A41C-4528-88E8-D7DDAA106CC7}" type="datetime'''''''''''''''''''''2''''''''''''''''0''''''''2''''''''''1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1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2065338" y="254476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FFC20CD-845D-4208-B1B4-DDCDD92DB2F5}" type="datetime'''2''0''''.''''''''''''''''0''''''%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.0%</a:t>
            </a:fld>
            <a:endParaRPr lang="en-US" sz="1000" b="1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886575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9001B97-CE41-46FF-B6A9-22F4EC0691E2}" type="datetime'''''''''20''''''''''''''''''''''''''.''''''''''''''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2135188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D452547-61A6-4E46-91CA-A63371423982}" type="datetime'2''''''0''''''''2''''''''''''''''''''0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0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4821238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E8BEBFE-DD73-41C6-B773-DA8DAF9C4CDE}" type="datetime'''''''''''''''''''''''''''''''20''''''''''''.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533775" y="4148138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BECCEFB-33D7-4D16-B61F-D070AB85E1F6}" type="datetime'2''''''''''''''''''''''0''''''''''''''''''''0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2754313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F1F36C8-ADE6-4189-87BA-4D31997D35EA}" type="datetime'2''''''''''0.''''''''''''''''''''''''''''''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2768600" y="413226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6718C1B-36FF-436C-849C-30E839E4E3AE}" type="datetime'''''''''5'''',''''''''''1''''5''0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,1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956425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F36A238-F014-4DCD-B76E-992286F4F6AB}" type="datetime'''20''''''''''''''27''''''''''''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7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2844800" y="4284663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BBA86AE-EF60-4A11-9887-DD71916933F7}" type="datetime'''''''''''''''''1''''''''''5''''''''0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803525" y="49609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F6BA32A-99A6-44D9-A8CD-487A4B79570E}" type="datetime'5'''''''''''''''''',''''''0''''0''''''''''''''''''''''0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3443288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BF83191-FB55-4244-95FA-D3BE40B737DD}" type="datetime'''''''''2''''''''''''''''''''''''0''''.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3492500" y="489585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296864B-F0FB-4723-971F-90976DD7F415}" type="datetime'''''''''''''''5'',''5''''''''''''0''''''''0''''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,5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835525" y="37163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64B2995-9822-40A9-94A1-D40AD3A1F493}" type="datetime'''''''''6'''''''''''''',''''''''''''8''''''''0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,80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3513138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07023C5-829F-4805-B923-5672153B9755}" type="datetime'''''''''''''''2''''''''''''0''''''''''''''''''''''''2''2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2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4132263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EDFC9F1-3ED5-41FE-8040-BC2900BD983F}" type="datetime'''''''''''''''''''''''''''''2''0.''''''''''''''0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222750" y="4010025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D3FC83E-9928-4E80-BC2F-9A2C44179260}" type="datetime'''''''''''2''''''''''''5''''''''''''''''''''''''''''''''0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5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6900863" y="32829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C332CFB-4B36-42A3-829F-1589AA87AA7A}" type="datetime'''8,''''''''''''''''''''''''''''''4''5''''0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,4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4146550" y="38576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A66DB6F-ABEA-4656-A764-097B33F7D767}" type="datetime'''''''''''''''6,''2''''''''''''5''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,2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4911725" y="3871913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6A6F523-9EB8-469C-B8DF-EC1C69BB358F}" type="datetime'''3''''''''''''0''''''''''''''''''''''''''''''''''''''0''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0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7645400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2638F85-5364-4492-AA07-E5872AA99943}" type="datetime'''''''''''2''''''0''''''''''2''''''8''''''''''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8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4870450" y="476408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1CD7123-FE4B-479D-8CF9-AD55C5ED6599}" type="datetime'''''''6'',''5''''''0''''''''''''''''''''''0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,5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5508625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D29E532-3A79-4B02-B37C-B6B340D0BC0D}" type="datetime'''''''''''''''''''''''''''''''''2''''''0''''.''''0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6197600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D74B74-85F7-40AC-9320-4DB6F5A6D601}" type="datetime'''''''''''''2''''''''''''''''0''''''''''''''''.''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7575550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9588A81-0674-48B5-B6D1-9612D51382FE}" type="datetime'2''''''''''0''''''''.0''''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6288088" y="3597275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BF45D0C-AF5E-4052-8AF1-FBF80B0665B5}" type="datetime'''''4''''0''''''''''''''''''''''''''''''''0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0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6246813" y="46323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EFC2B72-FD46-4BCA-9D1C-E83F0207C0A1}" type="datetime'''''7'''''''''''''',''''''''''''''5''''''''''''''''00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,5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6267450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07C662A-8396-4AB6-BA4F-83118A3BE854}" type="datetime'''''2''''''''''''''''0''''''''''''''''2''''''''''''6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6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6935788" y="45672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3B220B2-439E-41F5-8E9B-73ECFB75E888}" type="datetime'''8'''''''''''''''''',''''''0''''''''''''''''''''''''0''''''0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2079625" y="424815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A42EE2E-6FC0-4FE4-8CB5-62B46F4798FD}" type="datetime'''''4'',''6''''''''0''''''''0''''''''''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,600</a:t>
            </a:fld>
            <a:endParaRPr lang="en-US" sz="10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7624763" y="450215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F428140-A9CB-46CD-9040-F80B7C8451C7}" type="datetime'''''''''''''''''8'''''''''''''',5''''''''''''''''0''0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,5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8355013" y="3184525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1D8B013-81EB-48DC-9227-C82EB86D7A9E}" type="datetime'5''''''''5''''''''''''''''''''''''''''''0''''''''''''''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5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8313738" y="443547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A189BC-209C-4929-8680-FB62EC911E93}" type="datetime'''''''''''''''9'',''''''''''''''''''''''''0''''''''''''00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9002713" y="437038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23D2640-F462-4679-9450-5E56C73CA3A9}" type="datetime'''''''9'''''''',''''''''''''5''''''''''0''''''''''''0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,5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8334375" y="57102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4D98A82-F53A-48EC-94E3-8BB20E29B620}" type="datetime'''''''2''''''0''''''''''''''''''''''''''''''2''''9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9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8953500" y="2560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30721EF-36E2-4A76-AA2D-E539D200BB40}" type="datetime'''''''''''''2''''0''''''''''''.''''''''''''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8986839" y="2984500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02BEACA-D110-4F8F-97C9-BD002D66DD62}" type="datetime'''''''''''''''''''''''6''''00''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00</a:t>
            </a:fld>
            <a: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800" b="1" smtClean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(</a:t>
            </a:r>
            <a:fld id="{01A5D7FB-5AD2-45F5-9952-9544E9E0765C}" type="datetime'''''''''''''''''''5''.''''''''''''''''''''9''''''''''%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9%</a:t>
            </a:fld>
            <a:r>
              <a:rPr lang="en-US" altLang="en-US" sz="800" b="1" smtClean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1390650" y="440848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2105A48-2DBB-4BFD-94C7-8413561BEB87}" type="datetime'''''''''''''''''''''''''4'''''''''',''''''0''5''''''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8932863" y="2832100"/>
            <a:ext cx="417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335C4D4-14AD-47DA-B45F-1625106BD22E}" type="datetime'''''''''1''''''''''''0'''''',''''''1''''0''''0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,10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3457575" y="3995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785A1A3-8388-45DC-8C04-E7843C5F9751}" type="datetime'''''''''''5'''''''''''''''''',''7''0''''''''''''0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,70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7589838" y="313848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252EC1B-17D6-4B0E-8892-A7C051440A26}" type="datetime'9'',''''''0''''''''''''''''''''''''''''''''''0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,00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5522913" y="35210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816D78D-7D71-4CC4-9322-7D4C134AEF7A}" type="datetime'''7'''',''''''''''''3''''''''5''''''''''''''0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,3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8278813" y="299561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9CE3975-CAC4-4DDD-A05C-EB35B6F67C3F}" type="datetime'''''''''''9'''',''5''''''''5''''''''''0''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,5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65"/>
            </p:custDataLst>
          </p:nvPr>
        </p:nvCxnSpPr>
        <p:spPr bwMode="auto">
          <a:xfrm>
            <a:off x="485775" y="39370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Rectangle 70"/>
          <p:cNvSpPr/>
          <p:nvPr>
            <p:custDataLst>
              <p:tags r:id="rId66"/>
            </p:custDataLst>
          </p:nvPr>
        </p:nvSpPr>
        <p:spPr bwMode="auto">
          <a:xfrm>
            <a:off x="515938" y="4230688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/>
          <p:nvPr>
            <p:custDataLst>
              <p:tags r:id="rId67"/>
            </p:custDataLst>
          </p:nvPr>
        </p:nvSpPr>
        <p:spPr bwMode="auto">
          <a:xfrm>
            <a:off x="515938" y="4057650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2" name="Oval 71"/>
          <p:cNvSpPr/>
          <p:nvPr>
            <p:custDataLst>
              <p:tags r:id="rId68"/>
            </p:custDataLst>
          </p:nvPr>
        </p:nvSpPr>
        <p:spPr bwMode="auto">
          <a:xfrm>
            <a:off x="531813" y="39116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709613" y="40528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5C744EC7-2293-473F-97E3-06C8268B9D19}" type="datetime'''''''''''''N''''''''''''E''''''''V''''''''''''''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709613" y="3879850"/>
            <a:ext cx="2190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D4966FAF-D5A8-4B33-BE9B-741CCF618F5F}" type="datetime'M''''''''''''''''''''''''''''S''''''''''''''''''%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MS%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709613" y="4225925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E829D29B-151D-41B2-B8AE-4EC31DDF71F4}" type="datetime'''''''''''I''''''''''C''''''''E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ICE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74014"/>
              </p:ext>
            </p:extLst>
          </p:nvPr>
        </p:nvGraphicFramePr>
        <p:xfrm>
          <a:off x="391881" y="5710238"/>
          <a:ext cx="9122228" cy="685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MS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19A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30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V MKT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CE MKT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414338" y="3470275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</a:t>
            </a:r>
            <a:r>
              <a:rPr lang="en-US" sz="800" b="1" dirty="0">
                <a:solidFill>
                  <a:srgbClr val="000000"/>
                </a:solidFill>
                <a:latin typeface="VWAG TheSans"/>
              </a:rPr>
              <a:t>units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376958" y="1370207"/>
            <a:ext cx="9119467" cy="95206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; Porsche and Lamborghini data refer to PR69 SP Status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00876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7099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69" name="think-cell Slide" r:id="rId67" imgW="470" imgH="469" progId="TCLayout.ActiveDocument.1">
                  <p:embed/>
                </p:oleObj>
              </mc:Choice>
              <mc:Fallback>
                <p:oleObj name="think-cell Slide" r:id="rId67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  <a:defRPr/>
            </a:pPr>
            <a:endParaRPr kumimoji="0" lang="en-US" sz="8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pic>
        <p:nvPicPr>
          <p:cNvPr id="92" name="Picture 91"/>
          <p:cNvPicPr>
            <a:picLocks noChangeAspect="1" noChangeArrowheads="1"/>
          </p:cNvPicPr>
          <p:nvPr/>
        </p:nvPicPr>
        <p:blipFill>
          <a:blip r:embed="rId6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488" y="1654300"/>
            <a:ext cx="360363" cy="235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lkswagen Group China (CKD &amp; FBU) </a:t>
            </a:r>
            <a:r>
              <a:rPr lang="en-US" dirty="0" smtClean="0"/>
              <a:t>PR69.OP </a:t>
            </a:r>
            <a:r>
              <a:rPr lang="en-US" dirty="0"/>
              <a:t>Volume Planning </a:t>
            </a:r>
            <a:r>
              <a:rPr lang="en-US" dirty="0" smtClean="0"/>
              <a:t>2020-203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2707822" y="3976688"/>
            <a:ext cx="598488" cy="203200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5032"/>
              </p:ext>
            </p:extLst>
          </p:nvPr>
        </p:nvGraphicFramePr>
        <p:xfrm>
          <a:off x="381664" y="3757613"/>
          <a:ext cx="9118279" cy="255766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74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5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1878494411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6844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8290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Vol.</a:t>
                      </a:r>
                      <a:r>
                        <a:rPr lang="en-US" sz="800" u="none" strike="noStrike" baseline="0" dirty="0" smtClean="0">
                          <a:effectLst/>
                          <a:latin typeface="+mj-lt"/>
                        </a:rPr>
                        <a:t>  by </a:t>
                      </a:r>
                      <a:r>
                        <a:rPr lang="en-US" sz="800" u="none" strike="noStrike" kern="1200" dirty="0" smtClean="0">
                          <a:effectLst/>
                          <a:latin typeface="+mj-lt"/>
                        </a:rPr>
                        <a:t>Brand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034" marR="7034" marT="7034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1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2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3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4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5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6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7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8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29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smtClean="0">
                          <a:effectLst/>
                          <a:latin typeface="+mj-lt"/>
                        </a:rPr>
                        <a:t>203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9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W (</a:t>
                      </a:r>
                      <a:r>
                        <a:rPr lang="en-US" sz="800" b="1" kern="1200" baseline="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incl. Jetta &amp; </a:t>
                      </a:r>
                      <a:r>
                        <a:rPr lang="en-US" sz="800" b="1" kern="1200" baseline="0" dirty="0" err="1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upra</a:t>
                      </a:r>
                      <a:r>
                        <a:rPr lang="en-US" sz="800" b="1" kern="1200" baseline="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  <a:endParaRPr lang="en-US" sz="8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,0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84430454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24165162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457200" lvl="1" indent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Volkswagen</a:t>
                      </a: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,0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457200" lvl="1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457200" lvl="1" algn="l" defTabSz="914400" rtl="0" eaLnBrk="1" fontAlgn="ctr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Jetta</a:t>
                      </a: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,0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62705837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03659274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457200" lvl="1" algn="l" defTabSz="914400" rtl="0" eaLnBrk="1" fontAlgn="ctr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upra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,0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,00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2871219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76558260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udi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49472137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557534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em.</a:t>
                      </a:r>
                      <a:r>
                        <a:rPr lang="en-US" sz="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en-US" sz="8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0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FC1D6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570411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koda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363959"/>
                  </a:ext>
                </a:extLst>
              </a:tr>
              <a:tr h="1829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4132200"/>
                  </a:ext>
                </a:extLst>
              </a:tr>
            </a:tbl>
          </a:graphicData>
        </a:graphic>
      </p:graphicFrame>
      <p:cxnSp>
        <p:nvCxnSpPr>
          <p:cNvPr id="181" name="Straight Connector 180"/>
          <p:cNvCxnSpPr/>
          <p:nvPr>
            <p:custDataLst>
              <p:tags r:id="rId4"/>
            </p:custDataLst>
          </p:nvPr>
        </p:nvCxnSpPr>
        <p:spPr bwMode="white">
          <a:xfrm>
            <a:off x="1658938" y="3151188"/>
            <a:ext cx="333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3" name="Straight Connector 182"/>
          <p:cNvCxnSpPr/>
          <p:nvPr>
            <p:custDataLst>
              <p:tags r:id="rId5"/>
            </p:custDataLst>
          </p:nvPr>
        </p:nvCxnSpPr>
        <p:spPr bwMode="white">
          <a:xfrm>
            <a:off x="1658938" y="1900238"/>
            <a:ext cx="333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0" name="Straight Connector 179"/>
          <p:cNvCxnSpPr/>
          <p:nvPr>
            <p:custDataLst>
              <p:tags r:id="rId6"/>
            </p:custDataLst>
          </p:nvPr>
        </p:nvCxnSpPr>
        <p:spPr bwMode="white">
          <a:xfrm>
            <a:off x="1658938" y="3703638"/>
            <a:ext cx="333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3" name="Straight Connector 302"/>
          <p:cNvCxnSpPr/>
          <p:nvPr>
            <p:custDataLst>
              <p:tags r:id="rId7"/>
            </p:custDataLst>
          </p:nvPr>
        </p:nvCxnSpPr>
        <p:spPr bwMode="white">
          <a:xfrm>
            <a:off x="1658938" y="3427413"/>
            <a:ext cx="333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8"/>
            </p:custDataLst>
          </p:nvPr>
        </p:nvCxnSpPr>
        <p:spPr bwMode="white">
          <a:xfrm>
            <a:off x="1658938" y="2322513"/>
            <a:ext cx="333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9"/>
            </p:custDataLst>
          </p:nvPr>
        </p:nvCxnSpPr>
        <p:spPr bwMode="white">
          <a:xfrm>
            <a:off x="1658938" y="2176463"/>
            <a:ext cx="333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 bwMode="white">
          <a:xfrm>
            <a:off x="1658938" y="2598738"/>
            <a:ext cx="333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4" name="Straight Connector 303"/>
          <p:cNvCxnSpPr/>
          <p:nvPr>
            <p:custDataLst>
              <p:tags r:id="rId11"/>
            </p:custDataLst>
          </p:nvPr>
        </p:nvCxnSpPr>
        <p:spPr bwMode="white">
          <a:xfrm>
            <a:off x="1658938" y="2874963"/>
            <a:ext cx="333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" name="Straight Connector 306"/>
          <p:cNvCxnSpPr/>
          <p:nvPr>
            <p:custDataLst>
              <p:tags r:id="rId12"/>
            </p:custDataLst>
          </p:nvPr>
        </p:nvCxnSpPr>
        <p:spPr bwMode="white">
          <a:xfrm>
            <a:off x="1658938" y="1624013"/>
            <a:ext cx="333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22" name="Chart 121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46418819"/>
              </p:ext>
            </p:extLst>
          </p:nvPr>
        </p:nvGraphicFramePr>
        <p:xfrm>
          <a:off x="1609725" y="1541463"/>
          <a:ext cx="7797800" cy="2244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 useBgFill="1">
        <p:nvSpPr>
          <p:cNvPr id="12" name="Freeform 11"/>
          <p:cNvSpPr/>
          <p:nvPr>
            <p:custDataLst>
              <p:tags r:id="rId14"/>
            </p:custDataLst>
          </p:nvPr>
        </p:nvSpPr>
        <p:spPr bwMode="auto">
          <a:xfrm>
            <a:off x="1619250" y="220186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Freeform 9"/>
          <p:cNvSpPr/>
          <p:nvPr>
            <p:custDataLst>
              <p:tags r:id="rId15"/>
            </p:custDataLst>
          </p:nvPr>
        </p:nvSpPr>
        <p:spPr bwMode="auto">
          <a:xfrm>
            <a:off x="1619250" y="220186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6"/>
            </p:custDataLst>
          </p:nvPr>
        </p:nvSpPr>
        <p:spPr bwMode="auto">
          <a:xfrm>
            <a:off x="1619250" y="225901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6" name="Rectangle 24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7788275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BE76B18-5B3D-4163-AAD1-B8C1A62EAE45}" type="datetime'''''1''''3''''''''''''.''''0%''''''''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54" name="Rectangle 35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427788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09760E0-9213-4C70-909D-19FD29BF94E4}" type="datetime'''1''''''''''''.''''''''0''''''''%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56" name="Rectangle 355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9202738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B4722D-3E73-41BF-B50E-5C5B34153CD5}" type="datetime'''''''''''''''''''1''''.''0''''''''''''''''''''''''%'''">
              <a:rPr kumimoji="0" lang="en-US" altLang="en-US" sz="800" b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sym typeface="+mn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0%</a:t>
            </a:fld>
            <a:endParaRPr kumimoji="0" lang="en-US" sz="800" b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930525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F678EE8-06FB-4E01-8A0D-103EC68B310A}" type="datetime'''''''''''''''14''''''''''''''''.0''''%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63" name="Rectangle 362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734050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950492D-181F-4B19-ACFD-C298350C6F79}" type="datetime'1''''''''''''.''''''''''''0''''''''%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8" name="Rectangle 28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7815263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A506A5E-B8F4-4F3D-8E08-36D8DBF0BC6B}" type="datetime'''''''''''''''''5.''0''''''''''''%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011738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ADB6BC3-EC1A-49AA-BE13-CCAB07068563}" type="datetime'''''''''''''''''''''''1''''''''''''''''4.''''''0''''''%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1" name="Rectangle 28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2957513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50AE0FD-A27F-4E0D-B3FF-B2EB12B5BE4C}" type="datetime'5''''''''''''.''''''0''''%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1535113" y="1728788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3AAC461B-1D99-4608-BB1F-755D34317717}" type="datetime'''1''''''''4.''''''''''0''''''''''''''''%'''''''">
              <a:rPr lang="en-US" altLang="en-US" sz="800" b="1" smtClean="0">
                <a:solidFill>
                  <a:srgbClr val="000000"/>
                </a:solidFill>
              </a:rPr>
              <a:pPr lvl="0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20" name="Rectangle 11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9175750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9AE2123-FC30-48A1-8C9D-00A18D7519F3}" type="datetime'''''1''''''''''''4''.''''''''''''''''0''%'''''''''''''''">
              <a:rPr lang="en-US" altLang="en-US" sz="800" b="1" smtClean="0">
                <a:solidFill>
                  <a:srgbClr val="000000"/>
                </a:solidFill>
                <a:latin typeface="+mn-lt"/>
                <a:sym typeface="+mn-lt"/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64" name="Rectangle 36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815263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7287352-F497-45BC-8E4C-75D2B885BF37}" type="datetime'''''''''''''1''''''''''''''''''''''.''''''''0''%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79" name="Rectangle 278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717675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D691BE3-96BA-456B-97BA-C448B20857E5}" type="datetime'5''''''''.''''''''''''''''''''''''''''''''0''''%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37" name="Rectangle 236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1717675" y="2227263"/>
            <a:ext cx="300038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55F7A57-10DA-43F6-BDD0-000F8E2C6ED2}" type="datetime'''''''1''''''''''''3.''''''''0''''''%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60" name="Rectangle 359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5038725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0463809-F8BE-4CB6-9131-9FB8C3528CE2}" type="datetime'''''''1''''''''''''''''''.''''''''''''''''''''''''0%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53" name="Rectangle 35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1717675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AACA4AC-7B59-4D41-B208-6185C3A3C726}" type="datetime'''''''''''''''1''''''''''''.''''0''''%''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236788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EE53BE8-E73F-475E-BE70-0CEA04AE13BE}" type="datetime'1''4''.0''''''''%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38" name="Rectangle 237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2236788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168D4C7-9F15-423E-847F-B2676BED1339}" type="datetime'''''''''1''''''''3.''''''''''0''''''''''''''''''''%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6" name="Rectangle 285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5734050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5ADCE56-361A-43F1-978C-65E4D48BF4A8}" type="datetime'''''''''''5''''''''''''''''.0%''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0" name="Rectangle 27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2263775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2214B16-43F7-4280-ABFE-97571BD1CB6B}" type="datetime'''''5''''''''''''.0''%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57" name="Rectangle 356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2263775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D5B8143-4110-4029-A99D-26D645E8802F}" type="datetime'''''''''''''''''''''''''''1.0''''''''''''%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39" name="Rectangle 238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2930525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02F2428-CCB1-46B3-AB58-547103B810AE}" type="datetime'''''''''''1''3''''''''''''''.''0%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58" name="Rectangle 357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2957513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1372602-5001-481C-83C5-E1DA836DF2E9}" type="datetime'''''''''''''''''''''''''''1''.''0''''''''''''''''%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3624263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3A7F26E-4713-4660-902B-302FFBA42625}" type="datetime'''1''4''''.''''''''''''0''%''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5" name="Rectangle 284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038725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9BBF82F-2D86-4419-BF54-5BA164FBE4D5}" type="datetime'''5''''''''''''''''.''''''''''0%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40" name="Rectangle 239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3624263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D33C747-FB0F-47C8-A436-1F5356AF783F}" type="datetime'''''''''''''''''''''''1''3''''''''.0''''''%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8482013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D418A25-4651-4114-83CD-9A6A184D833E}" type="datetime'''1''''''4''''''''''''''''.''''''0''''''%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2" name="Rectangle 281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3651250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C5619ED-B5DA-4C73-88B9-08137CA4914F}" type="datetime'''''''''''5.''0''''''''%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3" name="Rectangle 282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7121525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3479960-EEE4-4469-A397-43C954BE6F59}" type="datetime'''''''5''''''''''''''.0''''''''''''''''''''%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43" name="Rectangle 24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707063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4A3D208-C574-4F42-BFFD-BF33718DE89B}" type="datetime'''1''3''''''''''''.''0''''''''''''%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59" name="Rectangle 358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3651250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E62F0D7-E9D7-45BC-A17A-826C2DF8061B}" type="datetime'''''''''''''1''''''.''''''0''''''''%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48" name="Rectangle 247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9175750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7F7DF36-92EA-4EBA-9E3E-04CC66AF1F3C}" type="datetime'''''''''''''''''''''''1''''3''''''''''''''''''.0''%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11" name="Rectangle 110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4318000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2A685B5-6F24-4DFD-A20E-9E2DF9994E14}" type="datetime'''''''''''''1''4''''''''.''''''''''''''''''''''''''''0%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90" name="Rectangle 289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9202738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CB36ECB-B391-4E01-BD01-E4729A8C8AC2}" type="datetime'''''5''.''''''''''''''''''''''0''''''''''''''''''%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16" name="Rectangle 115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6400800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4B0430A-2C1E-4950-A177-4E5948FD8037}" type="datetime'''1''''4.''''''''''''''''''''''''''''''''''''''''''''0''''''%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4" name="Rectangle 283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4344988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08D479C-2C94-4C8C-9196-BCE855320843}" type="datetime'''''5.''''''''''0''''''''''''''''''%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55" name="Rectangle 354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4344988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1E327CB-D889-436F-89AD-FA8C56E4E487}" type="datetime'''''''''''''''''''1''''.''''''''''0''''''''''''''''''%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42" name="Rectangle 241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5011738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11E814D-96C1-431A-A423-FEF6A9E636B4}" type="datetime'13.''''''''''''''''''''''''0''%''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5707063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B1EEEC8-5F25-4835-BD47-ADAA0E5E8F20}" type="datetime'''''''''''1''4''''''''''.''''''0''''''''%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44" name="Rectangle 243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6400800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D5AC35E-C1CB-44AA-B506-5F7798C68C3D}" type="datetime'1''''''''''''''3''''''''''.''''''''''''''''''0%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7" name="Rectangle 286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6427788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5AC4CFD-01C4-46DC-A465-23B939B11FD2}" type="datetime'''''5''''''''''.''''''''''0''''''''''%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41" name="Rectangle 240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4318000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06A820A-912D-4F3C-A4C8-E24A05F63846}" type="datetime'''''''''''''''''''1''''''''''''''''''''''3.''''''0''''''''%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45" name="Rectangle 244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7094538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784E39D-C311-4924-AE5E-C0A00A38A288}" type="datetime'''''''''1''''''''''''''''''3''''''''''''.''''0''''''%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61" name="Rectangle 360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7121525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6CA54B4-FF36-45C5-AEBD-45B53AE57E09}" type="datetime'''''''''''1''''.''''''''''''''''''0''''''''''''%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7788275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30BECC0-9455-4D93-A992-538794B09A23}" type="datetime'''1''''''''4''''''''''''''''''''''''.''''''''''''''''0%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47" name="Rectangle 246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8482013" y="1993900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D215B3C-6B83-45AF-BCC3-40C4B5E51867}" type="datetime'''''''''''''''''''''13''''''''''''''''.''''''0''''''''''%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3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 useBgFill="1">
        <p:nvSpPr>
          <p:cNvPr id="289" name="Rectangle 288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8509000" y="2139950"/>
            <a:ext cx="244475" cy="1333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D476174-E5F6-43CF-B58D-FFBEFB54B71C}" type="datetime'''''''''''''5''.''''''''''''''''''''0''''''%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62" name="Rectangle 361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8509000" y="3244850"/>
            <a:ext cx="2444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C6EB9B6-DDD9-4387-A0B4-8014A6886B1C}" type="datetime'''''1''''.''''''''''''''''''0''''''''''''%'''''''''''''''''''">
              <a:rPr kumimoji="0" lang="en-US" altLang="en-US" sz="800" b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sym typeface="+mn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0%</a:t>
            </a:fld>
            <a:endParaRPr kumimoji="0" lang="en-US" sz="800" b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7094538" y="1717675"/>
            <a:ext cx="3000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6B66E04-330A-45A6-9237-B835BC06ECE8}" type="datetime'''''''14''''''''''''''.''''''''0''''''''''''''''''''''%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4.0%</a:t>
            </a:fld>
            <a:endParaRPr kumimoji="0" lang="en-US" sz="8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pic>
        <p:nvPicPr>
          <p:cNvPr id="345" name="Picture 134" descr="image002"/>
          <p:cNvPicPr>
            <a:picLocks noChangeAspect="1" noChangeArrowheads="1"/>
          </p:cNvPicPr>
          <p:nvPr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4750" y="2071152"/>
            <a:ext cx="274638" cy="245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6" name="Grafik 4"/>
          <p:cNvPicPr>
            <a:picLocks noChangeAspect="1"/>
          </p:cNvPicPr>
          <p:nvPr/>
        </p:nvPicPr>
        <p:blipFill rotWithShape="1"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36" t="5669" r="19051" b="31943"/>
          <a:stretch/>
        </p:blipFill>
        <p:spPr>
          <a:xfrm>
            <a:off x="1196975" y="3234151"/>
            <a:ext cx="258763" cy="258763"/>
          </a:xfrm>
          <a:prstGeom prst="rect">
            <a:avLst/>
          </a:prstGeom>
        </p:spPr>
      </p:pic>
      <p:pic>
        <p:nvPicPr>
          <p:cNvPr id="347" name="Grafik 3"/>
          <p:cNvPicPr>
            <a:picLocks noChangeAspect="1"/>
          </p:cNvPicPr>
          <p:nvPr/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863" y="2815050"/>
            <a:ext cx="358775" cy="187456"/>
          </a:xfrm>
          <a:prstGeom prst="rect">
            <a:avLst/>
          </a:prstGeom>
        </p:spPr>
      </p:pic>
      <p:sp>
        <p:nvSpPr>
          <p:cNvPr id="14" name="Isosceles Triangle 13"/>
          <p:cNvSpPr/>
          <p:nvPr/>
        </p:nvSpPr>
        <p:spPr bwMode="auto">
          <a:xfrm flipV="1">
            <a:off x="4149725" y="2172694"/>
            <a:ext cx="96838" cy="65088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694113" y="2365403"/>
            <a:ext cx="609600" cy="1365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dirty="0" smtClean="0">
                <a:latin typeface="+mj-lt"/>
              </a:rPr>
              <a:t>Santana EOP</a:t>
            </a:r>
            <a:endParaRPr kumimoji="0" lang="en-US" sz="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3394075" y="2990050"/>
            <a:ext cx="884238" cy="115762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dirty="0" smtClean="0">
                <a:latin typeface="+mj-lt"/>
              </a:rPr>
              <a:t>SAIC VW Audi in</a:t>
            </a:r>
            <a:endParaRPr kumimoji="0" lang="en-US" sz="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113" name="Rectangle 112"/>
          <p:cNvSpPr/>
          <p:nvPr/>
        </p:nvSpPr>
        <p:spPr bwMode="auto">
          <a:xfrm>
            <a:off x="4727575" y="2977210"/>
            <a:ext cx="771525" cy="14922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dirty="0" smtClean="0">
                <a:latin typeface="+mj-lt"/>
              </a:rPr>
              <a:t>Audi JV TBD in</a:t>
            </a:r>
            <a:endParaRPr kumimoji="0" lang="en-US" sz="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126" name="Isosceles Triangle 125"/>
          <p:cNvSpPr/>
          <p:nvPr/>
        </p:nvSpPr>
        <p:spPr bwMode="auto">
          <a:xfrm flipH="1">
            <a:off x="5064125" y="2875095"/>
            <a:ext cx="96838" cy="65088"/>
          </a:xfrm>
          <a:prstGeom prst="triangle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2" name="Isosceles Triangle 141"/>
          <p:cNvSpPr/>
          <p:nvPr/>
        </p:nvSpPr>
        <p:spPr bwMode="auto">
          <a:xfrm flipH="1">
            <a:off x="3789363" y="2854392"/>
            <a:ext cx="95250" cy="65088"/>
          </a:xfrm>
          <a:prstGeom prst="triangle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87" name="Picture 2" descr="image001"/>
          <p:cNvPicPr>
            <a:picLocks noChangeAspect="1" noChangeArrowheads="1"/>
          </p:cNvPicPr>
          <p:nvPr/>
        </p:nvPicPr>
        <p:blipFill>
          <a:blip r:embed="rId74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9850" y="1654300"/>
            <a:ext cx="304800" cy="293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Rectangle 95"/>
          <p:cNvSpPr/>
          <p:nvPr/>
        </p:nvSpPr>
        <p:spPr bwMode="auto">
          <a:xfrm>
            <a:off x="412068" y="6326125"/>
            <a:ext cx="295276" cy="127004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854072" y="6339987"/>
            <a:ext cx="1159785" cy="18940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Highest market share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408798" y="6459254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; Porsche and Lamborghini data refer to PR69 SP Status</a:t>
            </a:r>
            <a:endParaRPr lang="en-US" sz="800" dirty="0">
              <a:latin typeface="+mj-lt"/>
            </a:endParaRPr>
          </a:p>
        </p:txBody>
      </p:sp>
      <p:pic>
        <p:nvPicPr>
          <p:cNvPr id="133" name="Picture 134" descr="image002"/>
          <p:cNvPicPr>
            <a:picLocks noChangeAspect="1" noChangeArrowheads="1"/>
          </p:cNvPicPr>
          <p:nvPr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25" y="1654300"/>
            <a:ext cx="276225" cy="246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9370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589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592" name="think-cell Slide" r:id="rId35" imgW="470" imgH="469" progId="TCLayout.ActiveDocument.1">
                  <p:embed/>
                </p:oleObj>
              </mc:Choice>
              <mc:Fallback>
                <p:oleObj name="think-cell Slide" r:id="rId35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3366"/>
                </a:solidFill>
              </a:rPr>
              <a:t>Volkswagen Group </a:t>
            </a:r>
            <a:r>
              <a:rPr lang="de-DE" dirty="0" smtClean="0">
                <a:solidFill>
                  <a:srgbClr val="003366"/>
                </a:solidFill>
              </a:rPr>
              <a:t>China </a:t>
            </a:r>
            <a:r>
              <a:rPr lang="en-US" dirty="0"/>
              <a:t>(CKD &amp; FBU)</a:t>
            </a:r>
            <a:r>
              <a:rPr lang="de-DE" dirty="0" smtClean="0">
                <a:solidFill>
                  <a:srgbClr val="003366"/>
                </a:solidFill>
              </a:rPr>
              <a:t> NEV </a:t>
            </a:r>
            <a:r>
              <a:rPr lang="en-US" dirty="0" smtClean="0"/>
              <a:t>PR69.OP </a:t>
            </a:r>
            <a:r>
              <a:rPr lang="en-US" dirty="0"/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915537"/>
              </p:ext>
            </p:extLst>
          </p:nvPr>
        </p:nvGraphicFramePr>
        <p:xfrm>
          <a:off x="573088" y="4454404"/>
          <a:ext cx="8869680" cy="194627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47204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baseline="0" dirty="0" smtClean="0">
                          <a:effectLst/>
                        </a:rPr>
                        <a:t> Vol. by Brand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</a:rPr>
                        <a:t>2019A</a:t>
                      </a:r>
                      <a:endParaRPr lang="en-US" sz="800" b="1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1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2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3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4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5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6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7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8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9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</a:rPr>
                        <a:t>2030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9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/>
                        <a:t>VW</a:t>
                      </a:r>
                      <a:r>
                        <a:rPr lang="en-US" sz="800" b="1" kern="1200" baseline="0" dirty="0" smtClean="0"/>
                        <a:t> (incl. </a:t>
                      </a:r>
                      <a:r>
                        <a:rPr lang="en-US" sz="800" b="1" kern="1200" baseline="0" dirty="0" err="1" smtClean="0"/>
                        <a:t>Cupra</a:t>
                      </a:r>
                      <a:r>
                        <a:rPr lang="en-US" sz="800" b="1" kern="1200" baseline="0" dirty="0" smtClean="0"/>
                        <a:t>)</a:t>
                      </a:r>
                      <a:endParaRPr lang="en-US" sz="8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4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68321450"/>
                  </a:ext>
                </a:extLst>
              </a:tr>
              <a:tr h="1799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/>
                        <a:t>%</a:t>
                      </a:r>
                      <a:endParaRPr lang="en-US" sz="8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1.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3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90220345"/>
                  </a:ext>
                </a:extLst>
              </a:tr>
              <a:tr h="1799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457200" lvl="1" algn="l" defTabSz="914400" rtl="0" eaLnBrk="1" fontAlgn="b" latinLnBrk="0" hangingPunct="1"/>
                      <a:r>
                        <a:rPr lang="en-US" sz="800" b="1" kern="1200" dirty="0" smtClean="0"/>
                        <a:t>Volkswagen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3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0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0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0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0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0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0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30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17990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800" b="1" kern="1200" dirty="0" smtClean="0"/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0.8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1.2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1.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1.5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1.5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1.5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1.5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1.5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1.5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1.5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1.5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1.5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8109200"/>
                  </a:ext>
                </a:extLst>
              </a:tr>
              <a:tr h="1799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457200" lvl="1" algn="l" defTabSz="914400" rtl="0" eaLnBrk="1" fontAlgn="ctr" latinLnBrk="0" hangingPunct="1"/>
                      <a:r>
                        <a:rPr lang="en-US" sz="800" b="1" kern="1200" dirty="0" err="1" smtClean="0"/>
                        <a:t>Cupra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T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29484929"/>
                  </a:ext>
                </a:extLst>
              </a:tr>
              <a:tr h="17990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800" b="1" kern="1200" dirty="0" smtClean="0"/>
                        <a:t>%</a:t>
                      </a:r>
                      <a:endParaRPr lang="en-US" sz="8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.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.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.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.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.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.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.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.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7525031"/>
                  </a:ext>
                </a:extLst>
              </a:tr>
              <a:tr h="1799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/>
                        <a:t>Audi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1799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/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1799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/>
                        <a:t>Skoda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4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99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/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0.8%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</a:tbl>
          </a:graphicData>
        </a:graphic>
      </p:graphicFrame>
      <p:graphicFrame>
        <p:nvGraphicFramePr>
          <p:cNvPr id="56" name="Chart 5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27567412"/>
              </p:ext>
            </p:extLst>
          </p:nvPr>
        </p:nvGraphicFramePr>
        <p:xfrm>
          <a:off x="1660525" y="2416175"/>
          <a:ext cx="7864475" cy="208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44" name="Rectangle 14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194050" y="36449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341FC18-66B1-4389-A1C3-8A29B1FFDD75}" type="datetime'''''''''''''7.''0''''''''''''''''''''''''''''''%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5" name="Rectangle 154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367463" y="32607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C2B2E64-C29B-456C-98D0-0E519C497F91}" type="datetime'''''''''''''12''''''''''''''''.0''''''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2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4" name="Rectangle 15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911350" y="37973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2F0AF26-38AF-49F2-8516-D13DA8C55052}" type="datetime'5''''''''''''.''''''''''''0''''''''''''''%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71" name="Rectangle 17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8997950" y="393541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FA7A0A5-0D4B-49AD-A4AD-5FC311DB5527}" type="datetime'6''''0''''''''''''''''''''''''''''0''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6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2" name="Rectangle 15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6430963" y="40465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0DC6803-9A50-4AEB-978D-B182B9DC4A0A}" type="datetime'''''''''''4''''''''''''''0''''0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4478338" y="34909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BF47685-9D31-43E6-8797-74BB7EB83B15}" type="datetime'''''9''''''''''''''''''''''.0''''''''%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1" name="Rectangle 14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552700" y="37052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2D1D487-2644-4273-AC52-F1CE334BFC28}" type="datetime'''6''''''''''.''''''''''''''''0''''''''''''''''''''''''''%'''">
              <a:rPr lang="en-US" altLang="en-US" sz="1000" b="1" smtClean="0"/>
              <a:pPr algn="ctr">
                <a:spcAft>
                  <a:spcPct val="0"/>
                </a:spcAft>
              </a:pPr>
              <a:t>6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5" name="Rectangle 14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836988" y="35671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5502383-0C61-4135-9975-0905D8C3F396}" type="datetime'''''''''''''''''''''''''''8''''''''.''''''''''''0''''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726113" y="33369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BA806AC-3D8C-41C9-8701-609953382211}" type="datetime'''''''1''''''''''''1''''''''''.0''''''''''''%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0" name="Rectangle 14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5084763" y="341471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11D6EED-47DA-48A2-BF54-F7F9E607C952}" type="datetime'''1''''''''''''''''''''0''''''''''.''''''''''''''''''''''0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70" name="Rectangle 16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8356600" y="3959225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919B6DD-C57B-4972-910F-F5CDF55779C6}" type="datetime'''''''''''''''''''''''''''''55''''0''''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5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0" name="Rectangle 15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7008813" y="31845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3F17ECA-1BF4-4E5F-BD34-5DD706FB79F9}" type="datetime'13''''''''''''.0''''''%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3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1" name="Rectangle 16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7651750" y="31083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D514193-7575-4E56-8B17-8808945AB6C8}" type="datetime'''''''''''''1''''''''''''''4''''''''''.''''''0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3" name="Rectangle 162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8293100" y="30305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FF68F71-F3CD-497E-BF3A-515915938560}" type="datetime'''''''''''''1''''''''5''''''''.''''''''''''''''0''%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4" name="Rectangle 16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934450" y="293846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846EF41-2D39-4978-BE1D-40C5C571968E}" type="datetime'1''''''''''''''''''''''6''''''''''''.''0''%''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6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3224213" y="41671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1471E96-0C53-41F0-A655-5D0F9054F5C8}" type="datetime'''''''''''1''''''5''''''''''''''''''''''''''0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6" name="Rectangle 165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1974850" y="4214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3626D1D-9D37-45F5-8AF3-9116C2E9B6D4}" type="datetime'5''''''0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7" name="Rectangle 16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2581275" y="4175125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2EEA9B3-03A0-434A-8E57-3146BE521315}" type="datetime'''''''''''''''''''''''''''''''''1''''''''''''''''''''''0''0'">
              <a:rPr lang="en-US" altLang="en-US" sz="1000" b="1" smtClean="0"/>
              <a:pPr algn="ctr">
                <a:spcAft>
                  <a:spcPct val="0"/>
                </a:spcAft>
              </a:pPr>
              <a:t>100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68" name="Rectangle 16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865563" y="41433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C1F8689-6959-4B4E-B65E-BB45EE8F50AD}" type="datetime'''''2''''''''0''''''''''''''''''''''''''''0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506913" y="41195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476C29D-D101-43D1-B8A6-69708F3C1F6B}" type="datetime'''''''''''''''2''5''''''''''''''''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3" name="Rectangle 14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148263" y="40941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D4C8855-9E85-4D84-9972-2024E9C1E187}" type="datetime'''''''''''''''''''''''''''''''3''0''''0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5789613" y="40703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4D99566-BFCD-46B5-94ED-BEA794A5963D}" type="datetime'''''''''''''''''''''''3''''5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6" name="Rectangle 155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73900" y="40227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CE416FB-3E52-4F02-BB10-C599075460FD}" type="datetime'''''''''''''''4''''''''''''''5''''''''''''0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37" name="Rectangle 13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715250" y="39989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5A00874-7A75-46A4-A72F-7075BB424DB6}" type="datetime'''''''''''''50''''''0''''''''''''''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74" name="Rectangle 173"/>
          <p:cNvSpPr/>
          <p:nvPr>
            <p:custDataLst>
              <p:tags r:id="rId29"/>
            </p:custDataLst>
          </p:nvPr>
        </p:nvSpPr>
        <p:spPr bwMode="auto">
          <a:xfrm>
            <a:off x="909638" y="4003675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73" name="Straight Connector 172"/>
          <p:cNvCxnSpPr/>
          <p:nvPr>
            <p:custDataLst>
              <p:tags r:id="rId30"/>
            </p:custDataLst>
          </p:nvPr>
        </p:nvCxnSpPr>
        <p:spPr bwMode="auto">
          <a:xfrm>
            <a:off x="879475" y="3883025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5" name="Oval 174"/>
          <p:cNvSpPr/>
          <p:nvPr>
            <p:custDataLst>
              <p:tags r:id="rId31"/>
            </p:custDataLst>
          </p:nvPr>
        </p:nvSpPr>
        <p:spPr bwMode="auto">
          <a:xfrm>
            <a:off x="925513" y="3857625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176" name="Rectangle 175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1103313" y="3825875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E6514437-959A-4527-8626-A0180117556D}" type="datetime'''''''''''''''''N''''''''''''''EV'''' ''M''''S''''%''''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1103313" y="3998913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91382" y="3403600"/>
            <a:ext cx="584200" cy="296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units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92114" y="1402779"/>
            <a:ext cx="9077890" cy="6725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indent="-228600">
              <a:spcBef>
                <a:spcPts val="0"/>
              </a:spcBef>
              <a:buFont typeface="+mj-lt"/>
              <a:buAutoNum type="arabicParenR"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2022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vs.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2021 NEV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market share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drop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 is due to Volkswagen Brand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:-</a:t>
            </a:r>
            <a:r>
              <a:rPr kumimoji="0" lang="en-US" sz="900" b="0" i="0" u="none" strike="noStrike" kern="120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XXppt;Porsche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 Brand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:</a:t>
            </a:r>
            <a:r>
              <a:rPr lang="en-US" sz="900" dirty="0" err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XXppt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;Audi </a:t>
            </a:r>
            <a:r>
              <a:rPr lang="en-US" sz="900" dirty="0" err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Brand:XXppt</a:t>
            </a:r>
            <a:endParaRPr lang="en-US" sz="900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685800" lvl="1" indent="-2286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spcBef>
                <a:spcPts val="540"/>
              </a:spcBef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2026 </a:t>
            </a:r>
            <a:r>
              <a:rPr lang="en-US" sz="900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vs.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 2025 NEV market delta is 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XX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 </a:t>
            </a:r>
            <a:r>
              <a:rPr lang="en-US" sz="900" dirty="0" err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mio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., which 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XXX</a:t>
            </a:r>
            <a:endParaRPr lang="en-US" sz="900" dirty="0" smtClean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97288" y="6478493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; Porsche and Lamborghini data refer to PR69 SP Status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2216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305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893" name="think-cell Slide" r:id="rId34" imgW="470" imgH="469" progId="TCLayout.ActiveDocument.1">
                  <p:embed/>
                </p:oleObj>
              </mc:Choice>
              <mc:Fallback>
                <p:oleObj name="think-cell Slide" r:id="rId34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3366"/>
                </a:solidFill>
              </a:rPr>
              <a:t>Volkswagen Group </a:t>
            </a:r>
            <a:r>
              <a:rPr lang="de-DE" dirty="0" smtClean="0">
                <a:solidFill>
                  <a:srgbClr val="003366"/>
                </a:solidFill>
              </a:rPr>
              <a:t>China </a:t>
            </a:r>
            <a:r>
              <a:rPr lang="en-US" dirty="0" smtClean="0"/>
              <a:t>(CKD </a:t>
            </a:r>
            <a:r>
              <a:rPr lang="en-US" dirty="0"/>
              <a:t>&amp; FBU) PR69.OP </a:t>
            </a:r>
            <a:r>
              <a:rPr lang="en-US" dirty="0" smtClean="0"/>
              <a:t>vs. PR69.SP</a:t>
            </a:r>
            <a:r>
              <a:rPr lang="en-US" dirty="0" smtClean="0">
                <a:sym typeface="VWAG TheSans"/>
              </a:rPr>
              <a:t> </a:t>
            </a:r>
            <a:r>
              <a:rPr lang="en-US" dirty="0">
                <a:sym typeface="VWAG TheSans"/>
              </a:rPr>
              <a:t>- Acc. </a:t>
            </a:r>
            <a:r>
              <a:rPr lang="en-US" dirty="0" smtClean="0">
                <a:sym typeface="VWAG TheSans"/>
              </a:rPr>
              <a:t>Volumes (2020-2030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576387" y="2090738"/>
            <a:ext cx="67468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097213" y="2781300"/>
            <a:ext cx="6762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>
            <a:off x="4619625" y="2090738"/>
            <a:ext cx="6762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auto">
          <a:xfrm>
            <a:off x="6142037" y="2436813"/>
            <a:ext cx="67468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662863" y="2781300"/>
            <a:ext cx="6762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8" name="Chart 57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18711182"/>
              </p:ext>
            </p:extLst>
          </p:nvPr>
        </p:nvGraphicFramePr>
        <p:xfrm>
          <a:off x="309563" y="2008188"/>
          <a:ext cx="9296400" cy="290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 useBgFill="1">
        <p:nvSpPr>
          <p:cNvPr id="14" name="Freeform 13"/>
          <p:cNvSpPr/>
          <p:nvPr>
            <p:custDataLst>
              <p:tags r:id="rId10"/>
            </p:custDataLst>
          </p:nvPr>
        </p:nvSpPr>
        <p:spPr bwMode="auto">
          <a:xfrm>
            <a:off x="684213" y="3651250"/>
            <a:ext cx="938213" cy="309564"/>
          </a:xfrm>
          <a:custGeom>
            <a:avLst/>
            <a:gdLst/>
            <a:ahLst/>
            <a:cxnLst/>
            <a:rect l="0" t="0" r="0" b="0"/>
            <a:pathLst>
              <a:path w="938213" h="309564">
                <a:moveTo>
                  <a:pt x="0" y="252413"/>
                </a:moveTo>
                <a:lnTo>
                  <a:pt x="938212" y="0"/>
                </a:lnTo>
                <a:lnTo>
                  <a:pt x="938212" y="57150"/>
                </a:lnTo>
                <a:lnTo>
                  <a:pt x="0" y="309563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36" name="Freeform 35"/>
          <p:cNvSpPr/>
          <p:nvPr>
            <p:custDataLst>
              <p:tags r:id="rId11"/>
            </p:custDataLst>
          </p:nvPr>
        </p:nvSpPr>
        <p:spPr bwMode="auto">
          <a:xfrm>
            <a:off x="8293100" y="3651250"/>
            <a:ext cx="938214" cy="309564"/>
          </a:xfrm>
          <a:custGeom>
            <a:avLst/>
            <a:gdLst/>
            <a:ahLst/>
            <a:cxnLst/>
            <a:rect l="0" t="0" r="0" b="0"/>
            <a:pathLst>
              <a:path w="938214" h="309564">
                <a:moveTo>
                  <a:pt x="0" y="252413"/>
                </a:moveTo>
                <a:lnTo>
                  <a:pt x="938213" y="0"/>
                </a:lnTo>
                <a:lnTo>
                  <a:pt x="938213" y="57150"/>
                </a:lnTo>
                <a:lnTo>
                  <a:pt x="0" y="309563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Freeform 28"/>
          <p:cNvSpPr/>
          <p:nvPr>
            <p:custDataLst>
              <p:tags r:id="rId12"/>
            </p:custDataLst>
          </p:nvPr>
        </p:nvSpPr>
        <p:spPr bwMode="auto">
          <a:xfrm>
            <a:off x="8293100" y="3708400"/>
            <a:ext cx="938214" cy="252414"/>
          </a:xfrm>
          <a:custGeom>
            <a:avLst/>
            <a:gdLst/>
            <a:ahLst/>
            <a:cxnLst/>
            <a:rect l="0" t="0" r="0" b="0"/>
            <a:pathLst>
              <a:path w="938214" h="252414">
                <a:moveTo>
                  <a:pt x="0" y="252413"/>
                </a:moveTo>
                <a:lnTo>
                  <a:pt x="93821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Freeform 14"/>
          <p:cNvSpPr/>
          <p:nvPr>
            <p:custDataLst>
              <p:tags r:id="rId13"/>
            </p:custDataLst>
          </p:nvPr>
        </p:nvSpPr>
        <p:spPr bwMode="auto">
          <a:xfrm>
            <a:off x="8293100" y="3651250"/>
            <a:ext cx="938214" cy="252414"/>
          </a:xfrm>
          <a:custGeom>
            <a:avLst/>
            <a:gdLst/>
            <a:ahLst/>
            <a:cxnLst/>
            <a:rect l="0" t="0" r="0" b="0"/>
            <a:pathLst>
              <a:path w="938214" h="252414">
                <a:moveTo>
                  <a:pt x="0" y="252413"/>
                </a:moveTo>
                <a:lnTo>
                  <a:pt x="93821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Freeform 11"/>
          <p:cNvSpPr/>
          <p:nvPr>
            <p:custDataLst>
              <p:tags r:id="rId14"/>
            </p:custDataLst>
          </p:nvPr>
        </p:nvSpPr>
        <p:spPr bwMode="auto">
          <a:xfrm>
            <a:off x="684213" y="3651250"/>
            <a:ext cx="938213" cy="252414"/>
          </a:xfrm>
          <a:custGeom>
            <a:avLst/>
            <a:gdLst/>
            <a:ahLst/>
            <a:cxnLst/>
            <a:rect l="0" t="0" r="0" b="0"/>
            <a:pathLst>
              <a:path w="938213" h="252414">
                <a:moveTo>
                  <a:pt x="0" y="252413"/>
                </a:moveTo>
                <a:lnTo>
                  <a:pt x="9382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5"/>
            </p:custDataLst>
          </p:nvPr>
        </p:nvSpPr>
        <p:spPr bwMode="auto">
          <a:xfrm>
            <a:off x="684213" y="3708400"/>
            <a:ext cx="938213" cy="252414"/>
          </a:xfrm>
          <a:custGeom>
            <a:avLst/>
            <a:gdLst/>
            <a:ahLst/>
            <a:cxnLst/>
            <a:rect l="0" t="0" r="0" b="0"/>
            <a:pathLst>
              <a:path w="938213" h="252414">
                <a:moveTo>
                  <a:pt x="0" y="252413"/>
                </a:moveTo>
                <a:lnTo>
                  <a:pt x="9382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9" name="Straight Connector 18"/>
          <p:cNvCxnSpPr/>
          <p:nvPr>
            <p:custDataLst>
              <p:tags r:id="rId16"/>
            </p:custDataLst>
          </p:nvPr>
        </p:nvCxnSpPr>
        <p:spPr bwMode="auto">
          <a:xfrm>
            <a:off x="1152524" y="1749425"/>
            <a:ext cx="76088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17"/>
            </p:custDataLst>
          </p:nvPr>
        </p:nvCxnSpPr>
        <p:spPr bwMode="auto">
          <a:xfrm flipV="1">
            <a:off x="1152525" y="17494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8"/>
            </p:custDataLst>
          </p:nvPr>
        </p:nvCxnSpPr>
        <p:spPr bwMode="auto">
          <a:xfrm>
            <a:off x="8761413" y="1749425"/>
            <a:ext cx="0" cy="7667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Rectangle 27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800475" y="4870450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2135188" y="4870450"/>
            <a:ext cx="10763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EF468F1-7942-4828-91AC-750943070990}" type="datetime'''''Tot''''a''''''''l'''' M''''ar''''''ket'' ''Effec''t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95325" y="4870450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7013575" y="2439988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0CE59F5-8314-4B27-9CFB-2585A776EF2E}" type="datetime'-''''''''''''5''0''''''''''''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5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+0.6</a:t>
            </a: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%)</a:t>
            </a: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970338" y="2266950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CC3E05B-7DBB-4E3B-A516-EAB7087937AC}" type="datetime'''''''''''''''''''''''''1''''''0''0''''''''''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0</a:t>
            </a:fld>
            <a:endParaRPr lang="en-US" altLang="en-US" sz="1000" b="1" dirty="0" smtClean="0"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latin typeface="+mj-lt"/>
                <a:ea typeface="+mj-ea"/>
                <a:cs typeface="+mj-cs"/>
                <a:sym typeface="+mj-lt"/>
              </a:rPr>
              <a:t>(+1.6%)</a:t>
            </a: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2462213" y="226695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3ADA046-4953-475C-97DB-BDF736BE25C8}" type="datetime'-1''''''''''''''''''''0''''''''''''0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100</a:t>
            </a:fld>
            <a:endParaRPr lang="en-US" altLang="en-US" sz="1000" b="1" dirty="0" smtClean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1.0%)</a:t>
            </a: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507038" y="209550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BC48F47-73D6-4EF7-A59D-0EFD3E5DEA02}" type="datetime'-''''''''''''''''''''''''''''''5''''0''''''''''''''''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5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</a:t>
            </a:r>
            <a:r>
              <a:rPr lang="en-US" altLang="zh-CN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2</a:t>
            </a: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.0%)</a:t>
            </a: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259388" y="4870450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880225" y="4870450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504238" y="4870450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942975" y="1863725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C1C9B06-635E-48DB-BFEB-56E649DDA014}" type="datetime'1,''''''''00''''''''''''''''''''''0''''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613776" y="2554288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61443F0-4BE2-43CB-BAA6-F87BF0F1CAD5}" type="datetime'''''''''''''''''''9''''''''''''''''''''''''0''''0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9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632325" y="151130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B853726-0473-488B-B6D2-B765F393227D}" type="datetime'-''1''''''''''''''''''''''''''''''''''''''''''0''0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00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sym typeface="+mj-lt"/>
              </a:rPr>
              <a:t/>
            </a:r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sym typeface="+mj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sym typeface="+mj-lt"/>
              </a:rPr>
              <a:t>(</a:t>
            </a:r>
            <a:fld id="{9CE92AE2-2A74-4B33-9D4E-03572C14A1BC}" type="datetime'''''-''1''''''''''''''''0.''''''''0''''''''''''''%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0.0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sym typeface="+mj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35528" y="1777745"/>
            <a:ext cx="655984" cy="3770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4321023"/>
              </p:ext>
            </p:extLst>
          </p:nvPr>
        </p:nvGraphicFramePr>
        <p:xfrm>
          <a:off x="367333" y="5135137"/>
          <a:ext cx="9191100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5162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109" name="Table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0682860"/>
              </p:ext>
            </p:extLst>
          </p:nvPr>
        </p:nvGraphicFramePr>
        <p:xfrm>
          <a:off x="5010151" y="2938421"/>
          <a:ext cx="1419224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3317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6590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Cycle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rly EOP</a:t>
                      </a: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P Delay</a:t>
                      </a: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OP Extension</a:t>
                      </a: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graphicFrame>
        <p:nvGraphicFramePr>
          <p:cNvPr id="110" name="Table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616611"/>
              </p:ext>
            </p:extLst>
          </p:nvPr>
        </p:nvGraphicFramePr>
        <p:xfrm>
          <a:off x="3473449" y="2938421"/>
          <a:ext cx="1473201" cy="127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7378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415823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2494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New Proj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340462"/>
                  </a:ext>
                </a:extLst>
              </a:tr>
              <a:tr h="12494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12494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0328780"/>
                  </a:ext>
                </a:extLst>
              </a:tr>
              <a:tr h="12494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3934454"/>
                  </a:ext>
                </a:extLst>
              </a:tr>
              <a:tr h="12494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1421515"/>
                  </a:ext>
                </a:extLst>
              </a:tr>
              <a:tr h="12494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Cancellation</a:t>
                      </a: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18808"/>
                  </a:ext>
                </a:extLst>
              </a:tr>
              <a:tr h="12494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281606"/>
                  </a:ext>
                </a:extLst>
              </a:tr>
              <a:tr h="12494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69463"/>
                  </a:ext>
                </a:extLst>
              </a:tr>
              <a:tr h="12494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4856083"/>
                  </a:ext>
                </a:extLst>
              </a:tr>
              <a:tr h="12494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266305"/>
                  </a:ext>
                </a:extLst>
              </a:tr>
            </a:tbl>
          </a:graphicData>
        </a:graphic>
      </p:graphicFrame>
      <p:graphicFrame>
        <p:nvGraphicFramePr>
          <p:cNvPr id="123" name="Table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344490"/>
              </p:ext>
            </p:extLst>
          </p:nvPr>
        </p:nvGraphicFramePr>
        <p:xfrm>
          <a:off x="2092892" y="2938421"/>
          <a:ext cx="1214851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XX%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XX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XXX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sp>
        <p:nvSpPr>
          <p:cNvPr id="125" name="TextBox 124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; Porsche and Lamborghini data refer to PR69 SP Status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132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099898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367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27" name="Straight Connector 26"/>
          <p:cNvCxnSpPr/>
          <p:nvPr>
            <p:custDataLst>
              <p:tags r:id="rId4"/>
            </p:custDataLst>
          </p:nvPr>
        </p:nvCxnSpPr>
        <p:spPr bwMode="auto">
          <a:xfrm>
            <a:off x="4005262" y="2727325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5"/>
            </p:custDataLst>
          </p:nvPr>
        </p:nvCxnSpPr>
        <p:spPr bwMode="auto">
          <a:xfrm>
            <a:off x="7907337" y="2722563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6"/>
            </p:custDataLst>
          </p:nvPr>
        </p:nvCxnSpPr>
        <p:spPr bwMode="auto">
          <a:xfrm>
            <a:off x="6605587" y="2533650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 bwMode="auto">
          <a:xfrm>
            <a:off x="2705099" y="2722563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8"/>
            </p:custDataLst>
          </p:nvPr>
        </p:nvCxnSpPr>
        <p:spPr bwMode="auto">
          <a:xfrm>
            <a:off x="1403349" y="2184400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9"/>
            </p:custDataLst>
          </p:nvPr>
        </p:nvCxnSpPr>
        <p:spPr bwMode="auto">
          <a:xfrm>
            <a:off x="5305424" y="2722563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Rectangle 14"/>
          <p:cNvSpPr/>
          <p:nvPr>
            <p:custDataLst>
              <p:tags r:id="rId10"/>
            </p:custDataLst>
          </p:nvPr>
        </p:nvSpPr>
        <p:spPr bwMode="auto">
          <a:xfrm>
            <a:off x="3282950" y="2722563"/>
            <a:ext cx="722313" cy="4763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Rectangle 23"/>
          <p:cNvSpPr/>
          <p:nvPr>
            <p:custDataLst>
              <p:tags r:id="rId11"/>
            </p:custDataLst>
          </p:nvPr>
        </p:nvSpPr>
        <p:spPr bwMode="auto">
          <a:xfrm>
            <a:off x="4583113" y="2722563"/>
            <a:ext cx="722312" cy="4763"/>
          </a:xfrm>
          <a:prstGeom prst="rect">
            <a:avLst/>
          </a:prstGeom>
          <a:solidFill>
            <a:srgbClr val="79BD8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65" name="Chart 64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87071666"/>
              </p:ext>
            </p:extLst>
          </p:nvPr>
        </p:nvGraphicFramePr>
        <p:xfrm>
          <a:off x="309563" y="2101850"/>
          <a:ext cx="9269412" cy="2066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 useBgFill="1">
        <p:nvSpPr>
          <p:cNvPr id="22" name="Freeform 21"/>
          <p:cNvSpPr/>
          <p:nvPr>
            <p:custDataLst>
              <p:tags r:id="rId13"/>
            </p:custDataLst>
          </p:nvPr>
        </p:nvSpPr>
        <p:spPr bwMode="auto">
          <a:xfrm>
            <a:off x="8447088" y="3271838"/>
            <a:ext cx="798513" cy="271463"/>
          </a:xfrm>
          <a:custGeom>
            <a:avLst/>
            <a:gdLst/>
            <a:ahLst/>
            <a:cxnLst/>
            <a:rect l="0" t="0" r="0" b="0"/>
            <a:pathLst>
              <a:path w="798513" h="271463">
                <a:moveTo>
                  <a:pt x="0" y="214312"/>
                </a:moveTo>
                <a:lnTo>
                  <a:pt x="798512" y="0"/>
                </a:lnTo>
                <a:lnTo>
                  <a:pt x="798512" y="57150"/>
                </a:lnTo>
                <a:lnTo>
                  <a:pt x="0" y="2714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8" name="Freeform 17"/>
          <p:cNvSpPr/>
          <p:nvPr>
            <p:custDataLst>
              <p:tags r:id="rId14"/>
            </p:custDataLst>
          </p:nvPr>
        </p:nvSpPr>
        <p:spPr bwMode="auto">
          <a:xfrm>
            <a:off x="642938" y="3271838"/>
            <a:ext cx="798513" cy="271463"/>
          </a:xfrm>
          <a:custGeom>
            <a:avLst/>
            <a:gdLst/>
            <a:ahLst/>
            <a:cxnLst/>
            <a:rect l="0" t="0" r="0" b="0"/>
            <a:pathLst>
              <a:path w="798513" h="271463">
                <a:moveTo>
                  <a:pt x="0" y="214312"/>
                </a:moveTo>
                <a:lnTo>
                  <a:pt x="798512" y="0"/>
                </a:lnTo>
                <a:lnTo>
                  <a:pt x="798512" y="57150"/>
                </a:lnTo>
                <a:lnTo>
                  <a:pt x="0" y="2714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reeform 16"/>
          <p:cNvSpPr/>
          <p:nvPr>
            <p:custDataLst>
              <p:tags r:id="rId15"/>
            </p:custDataLst>
          </p:nvPr>
        </p:nvSpPr>
        <p:spPr bwMode="auto">
          <a:xfrm>
            <a:off x="642938" y="3328988"/>
            <a:ext cx="798513" cy="214313"/>
          </a:xfrm>
          <a:custGeom>
            <a:avLst/>
            <a:gdLst/>
            <a:ahLst/>
            <a:cxnLst/>
            <a:rect l="0" t="0" r="0" b="0"/>
            <a:pathLst>
              <a:path w="798513" h="214313">
                <a:moveTo>
                  <a:pt x="0" y="214312"/>
                </a:moveTo>
                <a:lnTo>
                  <a:pt x="7985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reeform 15"/>
          <p:cNvSpPr/>
          <p:nvPr>
            <p:custDataLst>
              <p:tags r:id="rId16"/>
            </p:custDataLst>
          </p:nvPr>
        </p:nvSpPr>
        <p:spPr bwMode="auto">
          <a:xfrm>
            <a:off x="642938" y="3271838"/>
            <a:ext cx="798513" cy="214313"/>
          </a:xfrm>
          <a:custGeom>
            <a:avLst/>
            <a:gdLst/>
            <a:ahLst/>
            <a:cxnLst/>
            <a:rect l="0" t="0" r="0" b="0"/>
            <a:pathLst>
              <a:path w="798513" h="214313">
                <a:moveTo>
                  <a:pt x="0" y="214312"/>
                </a:moveTo>
                <a:lnTo>
                  <a:pt x="7985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Freeform 18"/>
          <p:cNvSpPr/>
          <p:nvPr>
            <p:custDataLst>
              <p:tags r:id="rId17"/>
            </p:custDataLst>
          </p:nvPr>
        </p:nvSpPr>
        <p:spPr bwMode="auto">
          <a:xfrm>
            <a:off x="8447088" y="3271838"/>
            <a:ext cx="798513" cy="214313"/>
          </a:xfrm>
          <a:custGeom>
            <a:avLst/>
            <a:gdLst/>
            <a:ahLst/>
            <a:cxnLst/>
            <a:rect l="0" t="0" r="0" b="0"/>
            <a:pathLst>
              <a:path w="798513" h="214313">
                <a:moveTo>
                  <a:pt x="0" y="214312"/>
                </a:moveTo>
                <a:lnTo>
                  <a:pt x="7985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Freeform 20"/>
          <p:cNvSpPr/>
          <p:nvPr>
            <p:custDataLst>
              <p:tags r:id="rId18"/>
            </p:custDataLst>
          </p:nvPr>
        </p:nvSpPr>
        <p:spPr bwMode="auto">
          <a:xfrm>
            <a:off x="8447088" y="3328988"/>
            <a:ext cx="798513" cy="214313"/>
          </a:xfrm>
          <a:custGeom>
            <a:avLst/>
            <a:gdLst/>
            <a:ahLst/>
            <a:cxnLst/>
            <a:rect l="0" t="0" r="0" b="0"/>
            <a:pathLst>
              <a:path w="798513" h="214313">
                <a:moveTo>
                  <a:pt x="0" y="214312"/>
                </a:moveTo>
                <a:lnTo>
                  <a:pt x="7985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4" name="Straight Connector 123"/>
          <p:cNvCxnSpPr/>
          <p:nvPr>
            <p:custDataLst>
              <p:tags r:id="rId19"/>
            </p:custDataLst>
          </p:nvPr>
        </p:nvCxnSpPr>
        <p:spPr bwMode="auto">
          <a:xfrm>
            <a:off x="8845550" y="1876425"/>
            <a:ext cx="0" cy="6143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2" name="Straight Connector 121"/>
          <p:cNvCxnSpPr/>
          <p:nvPr>
            <p:custDataLst>
              <p:tags r:id="rId20"/>
            </p:custDataLst>
          </p:nvPr>
        </p:nvCxnSpPr>
        <p:spPr bwMode="auto">
          <a:xfrm flipV="1">
            <a:off x="1041400" y="18764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21"/>
            </p:custDataLst>
          </p:nvPr>
        </p:nvCxnSpPr>
        <p:spPr bwMode="auto">
          <a:xfrm>
            <a:off x="1041400" y="1876425"/>
            <a:ext cx="7804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Rectangle 5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84200" y="4129088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8723313" y="252888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C584D33-1658-4A1C-900A-0F0F37D295E4}" type="datetime'''''9''''''00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900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588375" y="4129088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602E595-9A61-4472-89C0-73C971BF0F42}" type="datetime' ''''''P''''''''R''''69''''''''''''.O''''''''''''''''P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7327900" y="4129088"/>
            <a:ext cx="4349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CC9B5E0-D573-4032-87B0-45C190312C99}" type="datetime'O''''t''''''''''''''''''he''''''''r''''''''''''''''s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Others</a:t>
            </a:fld>
            <a:r>
              <a:rPr lang="en-US" altLang="en-US" sz="1000" b="1" dirty="0" smtClean="0">
                <a:solidFill>
                  <a:srgbClr val="000000"/>
                </a:solidFill>
              </a:rPr>
              <a:t>*</a:t>
            </a:r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334250" y="245903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3AEBEC7-E503-468C-AFE4-8E35133EE624}" type="datetime'-''''''''''''''''''''3''''5'''''''''''''''">
              <a:rPr lang="en-US" altLang="en-US" sz="1000" b="1" smtClean="0">
                <a:solidFill>
                  <a:schemeClr val="bg1"/>
                </a:solidFill>
              </a:rPr>
              <a:pPr algn="ctr">
                <a:spcAft>
                  <a:spcPct val="0"/>
                </a:spcAft>
              </a:pPr>
              <a:t>-35</a:t>
            </a:fld>
            <a:endParaRPr lang="en-US" altLang="en-US" sz="1000" b="1" dirty="0" smtClean="0">
              <a:solidFill>
                <a:schemeClr val="bg1"/>
              </a:solidFill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(-0.1%)</a:t>
            </a: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811838" y="4129088"/>
            <a:ext cx="86518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7198CF0-DE82-437F-B45E-9B54E15ACF67}" type="datetime'''''''J''''''''''A''C'''''' ''''''VW F''''urth''''e''r Chan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JAC 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68363" y="1990725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2924CDB-09FE-4F01-9983-0B058045BB9F}" type="datetime'''1,0''''''00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6018213" y="2459038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B41B1FB-C4B5-4218-8374-DA45F319E93B}" type="datetime'''''''''''''''''''''''''''''''''''3''''5'''''''''''''''''''">
              <a:rPr lang="en-US" altLang="en-US" sz="1000" b="1" smtClean="0"/>
              <a:pPr algn="ctr">
                <a:spcAft>
                  <a:spcPct val="0"/>
                </a:spcAft>
              </a:pPr>
              <a:t>35</a:t>
            </a:fld>
            <a:endParaRPr lang="en-US" altLang="en-US" sz="1000" b="1" dirty="0" smtClean="0"/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latin typeface="+mn-lt"/>
                <a:sym typeface="+mn-lt"/>
              </a:rPr>
              <a:t>(</a:t>
            </a:r>
            <a:r>
              <a:rPr lang="en-US" altLang="zh-CN" sz="1000" b="1" noProof="0" dirty="0" smtClean="0">
                <a:latin typeface="+mn-lt"/>
                <a:sym typeface="+mn-lt"/>
              </a:rPr>
              <a:t>+</a:t>
            </a:r>
            <a:r>
              <a:rPr lang="en-US" sz="1000" b="1" noProof="0" dirty="0" smtClean="0">
                <a:latin typeface="+mn-lt"/>
                <a:sym typeface="+mn-lt"/>
              </a:rPr>
              <a:t>0.</a:t>
            </a:r>
            <a:r>
              <a:rPr lang="en-US" altLang="zh-CN" sz="1000" b="1" noProof="0" dirty="0" smtClean="0">
                <a:latin typeface="+mn-lt"/>
                <a:sym typeface="+mn-lt"/>
              </a:rPr>
              <a:t>6</a:t>
            </a:r>
            <a:r>
              <a:rPr lang="en-US" sz="1000" b="1" noProof="0" dirty="0" smtClean="0">
                <a:latin typeface="+mn-lt"/>
                <a:sym typeface="+mn-lt"/>
              </a:rPr>
              <a:t>%)</a:t>
            </a: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4510088" y="4129088"/>
            <a:ext cx="8683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0DFC76F-2E4E-4BFF-83AF-857CBB556752}" type="datetime'SAI''''C'''' V''''W ''F''ur''''''t''''her C''ha''''''''ng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SAIC 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3209925" y="4129088"/>
            <a:ext cx="8683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03BB239-976D-45E2-98A1-8DFC0AEC61E6}" type="datetime'FA''''W-VW'' ''Fu''''''''r''t''her ''''''''Ch''''''ang''e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AW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3432176" y="2555875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42AF2F6-E2C4-4D51-AC8E-654FB81CA3BF}" type="datetime'-''''''''''''''''''''''''''''''''''''1'''''">
              <a:rPr lang="en-US" altLang="en-US" sz="1000" b="1" smtClean="0">
                <a:solidFill>
                  <a:schemeClr val="bg1"/>
                </a:solidFill>
              </a:rPr>
              <a:pPr algn="ctr">
                <a:spcAft>
                  <a:spcPct val="0"/>
                </a:spcAft>
              </a:pPr>
              <a:t>-1</a:t>
            </a:fld>
            <a:endParaRPr lang="en-US" altLang="en-US" sz="1000" b="1" dirty="0">
              <a:solidFill>
                <a:schemeClr val="bg1"/>
              </a:solidFill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(</a:t>
            </a:r>
            <a:r>
              <a:rPr lang="en-US" altLang="zh-CN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-</a:t>
            </a: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1.</a:t>
            </a:r>
            <a:r>
              <a:rPr lang="en-US" altLang="zh-CN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3</a:t>
            </a: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%)</a:t>
            </a: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718050" y="2555875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7740707-E8F8-43DF-81CF-D32CC036A49B}" type="datetime'''''''1'">
              <a:rPr lang="en-US" altLang="en-US" sz="1000" b="1" smtClean="0"/>
              <a:pPr algn="ctr">
                <a:spcAft>
                  <a:spcPct val="0"/>
                </a:spcAft>
              </a:pPr>
              <a:t>1</a:t>
            </a:fld>
            <a:endParaRPr lang="en-US" altLang="en-US" sz="1000" b="1" dirty="0" smtClean="0"/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latin typeface="+mn-lt"/>
                <a:sym typeface="+mn-lt"/>
              </a:rPr>
              <a:t>(</a:t>
            </a:r>
            <a:r>
              <a:rPr lang="en-US" altLang="zh-CN" sz="1000" b="1" noProof="0" dirty="0" smtClean="0">
                <a:latin typeface="+mn-lt"/>
                <a:sym typeface="+mn-lt"/>
              </a:rPr>
              <a:t>+1.0</a:t>
            </a:r>
            <a:r>
              <a:rPr lang="en-US" sz="1000" b="1" noProof="0" dirty="0" smtClean="0">
                <a:latin typeface="+mn-lt"/>
                <a:sym typeface="+mn-lt"/>
              </a:rPr>
              <a:t>%)</a:t>
            </a: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1806574" y="4129088"/>
            <a:ext cx="1073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03A8B29-ECDD-4CAD-9BE6-3CE5433644B7}" type="datetime'T''''ot''''''''a''l'' Ma''r''ket'' ''''''''''ef''f''ect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2132013" y="2284413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F68EB6A-EB98-4BFE-9097-EDA8CED28C36}" type="datetime'''''-''''''1''0''''''''0'''''''''''''''''''''''''''''''''''''">
              <a:rPr lang="en-US" altLang="en-US" sz="1000" b="1" smtClean="0">
                <a:solidFill>
                  <a:schemeClr val="bg1"/>
                </a:solidFill>
              </a:rPr>
              <a:pPr algn="ctr">
                <a:spcAft>
                  <a:spcPct val="0"/>
                </a:spcAft>
              </a:pPr>
              <a:t>-100</a:t>
            </a:fld>
            <a:endParaRPr lang="en-US" altLang="en-US" sz="1000" b="1" dirty="0" smtClean="0">
              <a:solidFill>
                <a:schemeClr val="bg1"/>
              </a:solidFill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(-1.0%)</a:t>
            </a: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619625" y="163830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AB5024B-5CBD-4FAC-8BCD-013EB46B5835}" type="datetime'''''''''''''''''''''''''''''-''''''''''''10''''''''0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0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/>
            </a:r>
            <a:b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5D8D0D1B-6FC8-4E2D-8B58-30EB79C8E4BA}" type="datetime'''''''''-''''''''''''''1''''''''0.''''''''0''''%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0.0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>
                <a:solidFill>
                  <a:srgbClr val="003366"/>
                </a:solidFill>
              </a:rPr>
              <a:t>Volkswagen Group China </a:t>
            </a:r>
            <a:r>
              <a:rPr lang="en-US" smtClean="0"/>
              <a:t>(CKD &amp; FBU) PR69.OP vs. PR69.SP</a:t>
            </a:r>
            <a:r>
              <a:rPr lang="en-US" smtClean="0">
                <a:sym typeface="VWAG TheSans"/>
              </a:rPr>
              <a:t> - Acc. Volumes (2020-2030)</a:t>
            </a:r>
            <a:endParaRPr lang="en-US" dirty="0"/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5899252"/>
              </p:ext>
            </p:extLst>
          </p:nvPr>
        </p:nvGraphicFramePr>
        <p:xfrm>
          <a:off x="392112" y="4475714"/>
          <a:ext cx="9104312" cy="1508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Market Effect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132067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/>
                      <a:endParaRPr lang="en-US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FAW-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SAIC 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JAC 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Other</a:t>
                      </a:r>
                      <a:r>
                        <a:rPr lang="en-US" sz="900" b="1" baseline="0" dirty="0" smtClean="0">
                          <a:latin typeface="+mn-lt"/>
                        </a:rPr>
                        <a:t>s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3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3070"/>
                  </a:ext>
                </a:extLst>
              </a:tr>
            </a:tbl>
          </a:graphicData>
        </a:graphic>
      </p:graphicFrame>
      <p:sp>
        <p:nvSpPr>
          <p:cNvPr id="5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63000" y="6548438"/>
            <a:ext cx="733425" cy="179387"/>
          </a:xfrm>
        </p:spPr>
        <p:txBody>
          <a:bodyPr/>
          <a:lstStyle/>
          <a:p>
            <a:fld id="{04ABC90F-D60A-4D10-BF9C-C7AC7A2BE08A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5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6958" y="6558828"/>
            <a:ext cx="2235613" cy="265361"/>
          </a:xfrm>
        </p:spPr>
        <p:txBody>
          <a:bodyPr/>
          <a:lstStyle/>
          <a:p>
            <a:r>
              <a:rPr lang="en-US" noProof="0" dirty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97" name="Table 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92159"/>
              </p:ext>
            </p:extLst>
          </p:nvPr>
        </p:nvGraphicFramePr>
        <p:xfrm>
          <a:off x="1782791" y="2850211"/>
          <a:ext cx="1214851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XX%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XX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XX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sp>
        <p:nvSpPr>
          <p:cNvPr id="98" name="TextBox 97"/>
          <p:cNvSpPr txBox="1"/>
          <p:nvPr/>
        </p:nvSpPr>
        <p:spPr>
          <a:xfrm>
            <a:off x="367333" y="1578963"/>
            <a:ext cx="655984" cy="3770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348834" y="6273201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; Porsche and Lamborghini data refer to PR69 SP Status</a:t>
            </a:r>
            <a:endParaRPr lang="en-US" sz="800" dirty="0">
              <a:latin typeface="+mj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34230" y="6424014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*Others include all FBU and  Audi JV TBD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254502"/>
              </p:ext>
            </p:extLst>
          </p:nvPr>
        </p:nvGraphicFramePr>
        <p:xfrm>
          <a:off x="3194823" y="2850211"/>
          <a:ext cx="890546" cy="9315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937">
                  <a:extLst>
                    <a:ext uri="{9D8B030D-6E8A-4147-A177-3AD203B41FA5}">
                      <a16:colId xmlns:a16="http://schemas.microsoft.com/office/drawing/2014/main" val="695128959"/>
                    </a:ext>
                  </a:extLst>
                </a:gridCol>
                <a:gridCol w="255609">
                  <a:extLst>
                    <a:ext uri="{9D8B030D-6E8A-4147-A177-3AD203B41FA5}">
                      <a16:colId xmlns:a16="http://schemas.microsoft.com/office/drawing/2014/main" val="2429331632"/>
                    </a:ext>
                  </a:extLst>
                </a:gridCol>
              </a:tblGrid>
              <a:tr h="92884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547033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VW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349725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Audi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75266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Jett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907581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83024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VW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533868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Audi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995912"/>
                  </a:ext>
                </a:extLst>
              </a:tr>
            </a:tbl>
          </a:graphicData>
        </a:graphic>
      </p:graphicFrame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880318"/>
              </p:ext>
            </p:extLst>
          </p:nvPr>
        </p:nvGraphicFramePr>
        <p:xfrm>
          <a:off x="4490223" y="2850211"/>
          <a:ext cx="890546" cy="10629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937">
                  <a:extLst>
                    <a:ext uri="{9D8B030D-6E8A-4147-A177-3AD203B41FA5}">
                      <a16:colId xmlns:a16="http://schemas.microsoft.com/office/drawing/2014/main" val="695128959"/>
                    </a:ext>
                  </a:extLst>
                </a:gridCol>
                <a:gridCol w="255609">
                  <a:extLst>
                    <a:ext uri="{9D8B030D-6E8A-4147-A177-3AD203B41FA5}">
                      <a16:colId xmlns:a16="http://schemas.microsoft.com/office/drawing/2014/main" val="2429331632"/>
                    </a:ext>
                  </a:extLst>
                </a:gridCol>
              </a:tblGrid>
              <a:tr h="108509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547033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VW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349725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Audi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75266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kod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907581"/>
                  </a:ext>
                </a:extLst>
              </a:tr>
              <a:tr h="108509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83024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VW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533868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Audi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995912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kod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8846255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347910"/>
              </p:ext>
            </p:extLst>
          </p:nvPr>
        </p:nvGraphicFramePr>
        <p:xfrm>
          <a:off x="5776913" y="2850211"/>
          <a:ext cx="890546" cy="531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937">
                  <a:extLst>
                    <a:ext uri="{9D8B030D-6E8A-4147-A177-3AD203B41FA5}">
                      <a16:colId xmlns:a16="http://schemas.microsoft.com/office/drawing/2014/main" val="2512717756"/>
                    </a:ext>
                  </a:extLst>
                </a:gridCol>
                <a:gridCol w="255609">
                  <a:extLst>
                    <a:ext uri="{9D8B030D-6E8A-4147-A177-3AD203B41FA5}">
                      <a16:colId xmlns:a16="http://schemas.microsoft.com/office/drawing/2014/main" val="3165710745"/>
                    </a:ext>
                  </a:extLst>
                </a:gridCol>
              </a:tblGrid>
              <a:tr h="108509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063819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VW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3264192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Cupr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532345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ihao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51543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2483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825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29" name="Straight Connector 28"/>
          <p:cNvCxnSpPr/>
          <p:nvPr>
            <p:custDataLst>
              <p:tags r:id="rId4"/>
            </p:custDataLst>
          </p:nvPr>
        </p:nvCxnSpPr>
        <p:spPr bwMode="auto">
          <a:xfrm>
            <a:off x="4213226" y="2727325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5"/>
            </p:custDataLst>
          </p:nvPr>
        </p:nvCxnSpPr>
        <p:spPr bwMode="auto">
          <a:xfrm>
            <a:off x="3201989" y="247015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6"/>
            </p:custDataLst>
          </p:nvPr>
        </p:nvCxnSpPr>
        <p:spPr bwMode="auto">
          <a:xfrm>
            <a:off x="7248526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 bwMode="auto">
          <a:xfrm>
            <a:off x="2189164" y="254635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8"/>
            </p:custDataLst>
          </p:nvPr>
        </p:nvCxnSpPr>
        <p:spPr bwMode="auto">
          <a:xfrm>
            <a:off x="1177926" y="20320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9"/>
            </p:custDataLst>
          </p:nvPr>
        </p:nvCxnSpPr>
        <p:spPr bwMode="auto">
          <a:xfrm>
            <a:off x="8259764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 bwMode="auto">
          <a:xfrm>
            <a:off x="6235701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11"/>
            </p:custDataLst>
          </p:nvPr>
        </p:nvCxnSpPr>
        <p:spPr bwMode="auto">
          <a:xfrm>
            <a:off x="5224464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ctangle 8"/>
          <p:cNvSpPr/>
          <p:nvPr>
            <p:custDataLst>
              <p:tags r:id="rId12"/>
            </p:custDataLst>
          </p:nvPr>
        </p:nvSpPr>
        <p:spPr bwMode="auto">
          <a:xfrm>
            <a:off x="6684964" y="2981325"/>
            <a:ext cx="563563" cy="6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angle 21"/>
          <p:cNvSpPr/>
          <p:nvPr>
            <p:custDataLst>
              <p:tags r:id="rId13"/>
            </p:custDataLst>
          </p:nvPr>
        </p:nvSpPr>
        <p:spPr bwMode="auto">
          <a:xfrm>
            <a:off x="5673726" y="2981325"/>
            <a:ext cx="561975" cy="6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angle 9"/>
          <p:cNvSpPr/>
          <p:nvPr>
            <p:custDataLst>
              <p:tags r:id="rId14"/>
            </p:custDataLst>
          </p:nvPr>
        </p:nvSpPr>
        <p:spPr bwMode="auto">
          <a:xfrm>
            <a:off x="7697789" y="2981325"/>
            <a:ext cx="561975" cy="6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69" name="Chart 68"/>
          <p:cNvGraphicFramePr/>
          <p:nvPr>
            <p:custDataLst>
              <p:tags r:id="rId15"/>
            </p:custDataLst>
            <p:extLst/>
          </p:nvPr>
        </p:nvGraphicFramePr>
        <p:xfrm>
          <a:off x="309563" y="1949450"/>
          <a:ext cx="9269412" cy="207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 useBgFill="1">
        <p:nvSpPr>
          <p:cNvPr id="7" name="Freeform 6"/>
          <p:cNvSpPr/>
          <p:nvPr>
            <p:custDataLst>
              <p:tags r:id="rId16"/>
            </p:custDataLst>
          </p:nvPr>
        </p:nvSpPr>
        <p:spPr bwMode="auto">
          <a:xfrm>
            <a:off x="577850" y="3349625"/>
            <a:ext cx="638176" cy="228600"/>
          </a:xfrm>
          <a:custGeom>
            <a:avLst/>
            <a:gdLst/>
            <a:ahLst/>
            <a:cxnLst/>
            <a:rect l="0" t="0" r="0" b="0"/>
            <a:pathLst>
              <a:path w="638176" h="228601">
                <a:moveTo>
                  <a:pt x="0" y="171450"/>
                </a:moveTo>
                <a:lnTo>
                  <a:pt x="638175" y="0"/>
                </a:lnTo>
                <a:lnTo>
                  <a:pt x="638175" y="57150"/>
                </a:lnTo>
                <a:lnTo>
                  <a:pt x="0" y="2286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26" name="Freeform 25"/>
          <p:cNvSpPr/>
          <p:nvPr>
            <p:custDataLst>
              <p:tags r:id="rId17"/>
            </p:custDataLst>
          </p:nvPr>
        </p:nvSpPr>
        <p:spPr bwMode="auto">
          <a:xfrm>
            <a:off x="8670925" y="3349625"/>
            <a:ext cx="638176" cy="228600"/>
          </a:xfrm>
          <a:custGeom>
            <a:avLst/>
            <a:gdLst/>
            <a:ahLst/>
            <a:cxnLst/>
            <a:rect l="0" t="0" r="0" b="0"/>
            <a:pathLst>
              <a:path w="638176" h="228601">
                <a:moveTo>
                  <a:pt x="0" y="171450"/>
                </a:moveTo>
                <a:lnTo>
                  <a:pt x="638175" y="0"/>
                </a:lnTo>
                <a:lnTo>
                  <a:pt x="638175" y="57150"/>
                </a:lnTo>
                <a:lnTo>
                  <a:pt x="0" y="2286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Freeform 14"/>
          <p:cNvSpPr/>
          <p:nvPr>
            <p:custDataLst>
              <p:tags r:id="rId18"/>
            </p:custDataLst>
          </p:nvPr>
        </p:nvSpPr>
        <p:spPr bwMode="auto">
          <a:xfrm>
            <a:off x="8670925" y="340677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9"/>
            </p:custDataLst>
          </p:nvPr>
        </p:nvSpPr>
        <p:spPr bwMode="auto">
          <a:xfrm>
            <a:off x="8670925" y="334962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Freeform 4"/>
          <p:cNvSpPr/>
          <p:nvPr>
            <p:custDataLst>
              <p:tags r:id="rId20"/>
            </p:custDataLst>
          </p:nvPr>
        </p:nvSpPr>
        <p:spPr bwMode="auto">
          <a:xfrm>
            <a:off x="577850" y="334962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Freeform 5"/>
          <p:cNvSpPr/>
          <p:nvPr>
            <p:custDataLst>
              <p:tags r:id="rId21"/>
            </p:custDataLst>
          </p:nvPr>
        </p:nvSpPr>
        <p:spPr bwMode="auto">
          <a:xfrm>
            <a:off x="577850" y="340677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2" name="Straight Connector 121"/>
          <p:cNvCxnSpPr/>
          <p:nvPr>
            <p:custDataLst>
              <p:tags r:id="rId22"/>
            </p:custDataLst>
          </p:nvPr>
        </p:nvCxnSpPr>
        <p:spPr bwMode="auto">
          <a:xfrm flipV="1">
            <a:off x="896938" y="17240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23"/>
            </p:custDataLst>
          </p:nvPr>
        </p:nvCxnSpPr>
        <p:spPr bwMode="auto">
          <a:xfrm>
            <a:off x="896939" y="1724025"/>
            <a:ext cx="809307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Straight Connector 123"/>
          <p:cNvCxnSpPr/>
          <p:nvPr>
            <p:custDataLst>
              <p:tags r:id="rId24"/>
            </p:custDataLst>
          </p:nvPr>
        </p:nvCxnSpPr>
        <p:spPr bwMode="auto">
          <a:xfrm>
            <a:off x="8990013" y="1724025"/>
            <a:ext cx="0" cy="10287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25"/>
            </p:custDataLst>
          </p:nvPr>
        </p:nvCxnSpPr>
        <p:spPr bwMode="auto">
          <a:xfrm>
            <a:off x="4943475" y="270192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Rectangle 7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1697038" y="212090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264EF732-2357-4894-9866-1F24888731DC}" type="datetime'2'',''''''''''''''''''0''''''''''''0''''''''0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1544638" y="3986213"/>
            <a:ext cx="7270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03A8B29-ECDD-4CAD-9BE6-3CE5433644B7}" type="datetime'T''''ot''''''''a''l'' Ma''r''ket'' ''''''''''ef''f''ect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523038" y="3986213"/>
            <a:ext cx="887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8016EE7-05CB-44D4-95F3-E1A9BD03386E}" type="datetime'''J''A''''C-V''W ''C''ha''''''''n''''''''''''''g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JAC-VW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640388" y="3986213"/>
            <a:ext cx="6302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74521A8-7780-4917-88C8-1D74E9C58ACF}" type="datetime'''J''''''e''t''ta ''Br''a''nd Cha''n''g''''e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Jetta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7688263" y="3986213"/>
            <a:ext cx="58261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BF9853E-8B3D-4CC0-AD73-179250830791}" type="datetime'Oth''e''r'' FB''U'' ''C''''''''h''''a''''n''''g''''''''''''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Other FBU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591050" y="3986213"/>
            <a:ext cx="7064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66DAD46-3C77-4A22-BEE6-98C8FAFACC2A}" type="datetime'S''''k''''od''a'' Br''''''''a''nd'' ''C''han''g''''''''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Skoda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732838" y="398621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602E595-9A61-4472-89C0-73C971BF0F42}" type="datetime' ''''''P''''''''R''''69''''''''''''.O''''''''''''''''P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8782050" y="2790825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BDFEF64-9162-48A8-A52F-756B94CC043E}" type="datetime'''''''''2''''''0,''''3''''''''''0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0,300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732338" y="236537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F176EADC-5541-4166-98FB-DC327DC201C6}" type="datetime'''''''''''''1'''''''''',''''0''''''''''''0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1.8%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3619500" y="3986213"/>
            <a:ext cx="6254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670FE76-16DB-4C4F-9A39-70635879D953}" type="datetime'''Au''''''d''''i'' Br''''''a''n''d'''''' C''h''''an''''''''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Audi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3721100" y="243046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2A0F1DA1-FD0E-43BB-B26D-E90381F865F4}" type="datetime'1'''''''',''''''''''''''''''''''0''''''''''''''0''0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2635250" y="3986213"/>
            <a:ext cx="56991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9C81158-5872-4BC0-8C1D-3B4211D4B8C2}" type="datetime'V''''''W ''B''rand'''''' ''C''''''h''''''a''''''ng''''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VW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2693988" y="2339975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9890DA8-74BF-482E-A6BB-6063C2C26D75}" type="datetime'''''''''''3''''''''''''''0''''''''''''''''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3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688975" y="1838325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460A2BC-2E30-4EE2-BDCB-DFB0F034A551}" type="datetime'2''''''''''''''''''4'''''''',''''''00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4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439738" y="3986213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4619625" y="148590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42DD9FE-86BC-49B0-89C5-C29A0533E61A}" type="datetime'-''''''''''''''''''''3'',''''''''7''''''''''''''00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3,70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/>
            </a:r>
            <a:b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1802667E-D8CC-46BD-9AF7-2CA07AB5D915}" type="datetime'''''-''1''''5''.''''4''''%''''''''''''''''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5.4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228138" y="6548438"/>
            <a:ext cx="677862" cy="179387"/>
          </a:xfrm>
        </p:spPr>
        <p:txBody>
          <a:bodyPr/>
          <a:lstStyle/>
          <a:p>
            <a:pPr marL="0" marR="0" lvl="0" indent="0" algn="r" defTabSz="958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CF5D4C-9F6E-4E1F-A3C5-05B84EDEF6B8}" type="slidenum"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548438"/>
            <a:ext cx="1511300" cy="179387"/>
          </a:xfrm>
        </p:spPr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Group Market and Sales Steering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69755" y="3093586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ICE: -6.0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NEV: -13.6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-7.9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</a:t>
            </a:r>
            <a:r>
              <a:rPr lang="en-US" sz="800" dirty="0" smtClean="0">
                <a:solidFill>
                  <a:srgbClr val="000000"/>
                </a:solidFill>
                <a:latin typeface="VWAG TheSans"/>
              </a:rPr>
              <a:t>.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: +0.6%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/>
          </p:nvPr>
        </p:nvGraphicFramePr>
        <p:xfrm>
          <a:off x="392112" y="4297907"/>
          <a:ext cx="9104312" cy="2057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Market Effect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17256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VW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Audi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Skoda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Jetta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314470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JAC-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065696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Other</a:t>
                      </a:r>
                      <a:r>
                        <a:rPr lang="en-US" sz="900" b="1" baseline="0" dirty="0" smtClean="0">
                          <a:latin typeface="+mn-lt"/>
                        </a:rPr>
                        <a:t> FBU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3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395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442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342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lkswagen Group </a:t>
            </a:r>
            <a:r>
              <a:rPr lang="en-US" dirty="0" smtClean="0"/>
              <a:t>China (CKD &amp; FBU) Volume PR69.OP vs. PR69.S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9278874"/>
              </p:ext>
            </p:extLst>
          </p:nvPr>
        </p:nvGraphicFramePr>
        <p:xfrm>
          <a:off x="357804" y="4553544"/>
          <a:ext cx="8461079" cy="1610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16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19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87751">
                  <a:extLst>
                    <a:ext uri="{9D8B030D-6E8A-4147-A177-3AD203B41FA5}">
                      <a16:colId xmlns:a16="http://schemas.microsoft.com/office/drawing/2014/main" val="980109755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Delta (ppt) 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VW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Jetta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842028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latin typeface="+mj-lt"/>
                        </a:rPr>
                        <a:t>Sihao</a:t>
                      </a:r>
                      <a:r>
                        <a:rPr lang="en-US" sz="900" b="1" dirty="0" smtClean="0">
                          <a:latin typeface="+mj-lt"/>
                        </a:rPr>
                        <a:t>/Cupra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066045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Audi</a:t>
                      </a:r>
                      <a:r>
                        <a:rPr lang="en-US" sz="900" b="1" baseline="0" dirty="0" smtClean="0">
                          <a:latin typeface="+mj-lt"/>
                        </a:rPr>
                        <a:t>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Skoda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FBU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22123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681494895"/>
              </p:ext>
            </p:extLst>
          </p:nvPr>
        </p:nvGraphicFramePr>
        <p:xfrm>
          <a:off x="1306286" y="1816101"/>
          <a:ext cx="7456714" cy="2737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86989" y="3393456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</a:t>
            </a:r>
            <a:r>
              <a:rPr lang="en-US" sz="800" b="1" dirty="0">
                <a:solidFill>
                  <a:srgbClr val="000000"/>
                </a:solidFill>
                <a:latin typeface="VWAG TheSans"/>
              </a:rPr>
              <a:t>uni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6509" y="22418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TM%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; Porsche and Lamborghini data refer to PR69 SP Status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9191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olkswagen Group China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W Brand Passenger Car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Jetta Brand 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1012175" y="4126056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 </a:t>
            </a:r>
            <a:r>
              <a:rPr lang="en-US" altLang="zh-CN" sz="1800" b="1" dirty="0" err="1">
                <a:solidFill>
                  <a:srgbClr val="FFFFFF"/>
                </a:solidFill>
                <a:latin typeface="VWAG TheSans"/>
                <a:sym typeface="VWAG TheSans"/>
              </a:rPr>
              <a:t>Cupra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 Brand </a:t>
            </a: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411132" y="4126056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1012175" y="4717894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Audi Brand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411132" y="4717894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1012175" y="5309732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Skoda Brand</a:t>
            </a: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auto">
          <a:xfrm>
            <a:off x="411132" y="5309732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7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3973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305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2640" name="think-cell Slide" r:id="rId33" imgW="470" imgH="469" progId="TCLayout.ActiveDocument.1">
                  <p:embed/>
                </p:oleObj>
              </mc:Choice>
              <mc:Fallback>
                <p:oleObj name="think-cell Slide" r:id="rId33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700" dirty="0"/>
              <a:t>Volkswagen Group China (CKD &amp; FBU) NEV PR69.OP vs. PR69.SP</a:t>
            </a:r>
            <a:r>
              <a:rPr lang="en-US" sz="1700" dirty="0">
                <a:sym typeface="VWAG TheSans"/>
              </a:rPr>
              <a:t> - Acc. Volumes (</a:t>
            </a:r>
            <a:r>
              <a:rPr lang="en-US" sz="1700" dirty="0" smtClean="0">
                <a:sym typeface="VWAG TheSans"/>
              </a:rPr>
              <a:t>2020-2030)</a:t>
            </a:r>
            <a:endParaRPr lang="en-US" sz="17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20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2113" y="6505386"/>
            <a:ext cx="2235613" cy="265361"/>
          </a:xfrm>
        </p:spPr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cxnSp>
        <p:nvCxnSpPr>
          <p:cNvPr id="10" name="Straight Connector 9"/>
          <p:cNvCxnSpPr/>
          <p:nvPr>
            <p:custDataLst>
              <p:tags r:id="rId4"/>
            </p:custDataLst>
          </p:nvPr>
        </p:nvCxnSpPr>
        <p:spPr bwMode="auto">
          <a:xfrm>
            <a:off x="4608513" y="2506663"/>
            <a:ext cx="668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5"/>
            </p:custDataLst>
          </p:nvPr>
        </p:nvCxnSpPr>
        <p:spPr bwMode="auto">
          <a:xfrm>
            <a:off x="7620000" y="2578100"/>
            <a:ext cx="668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6"/>
            </p:custDataLst>
          </p:nvPr>
        </p:nvCxnSpPr>
        <p:spPr bwMode="auto">
          <a:xfrm>
            <a:off x="1595438" y="2506663"/>
            <a:ext cx="668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7"/>
            </p:custDataLst>
          </p:nvPr>
        </p:nvCxnSpPr>
        <p:spPr bwMode="auto">
          <a:xfrm>
            <a:off x="3101975" y="2924175"/>
            <a:ext cx="668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8"/>
            </p:custDataLst>
          </p:nvPr>
        </p:nvCxnSpPr>
        <p:spPr bwMode="auto">
          <a:xfrm>
            <a:off x="6113463" y="2660650"/>
            <a:ext cx="668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6" name="Chart 55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86114552"/>
              </p:ext>
            </p:extLst>
          </p:nvPr>
        </p:nvGraphicFramePr>
        <p:xfrm>
          <a:off x="341313" y="2424113"/>
          <a:ext cx="9202737" cy="2322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 useBgFill="1">
        <p:nvSpPr>
          <p:cNvPr id="13" name="Freeform 12"/>
          <p:cNvSpPr/>
          <p:nvPr>
            <p:custDataLst>
              <p:tags r:id="rId10"/>
            </p:custDataLst>
          </p:nvPr>
        </p:nvSpPr>
        <p:spPr bwMode="auto">
          <a:xfrm>
            <a:off x="711200" y="3640138"/>
            <a:ext cx="930276" cy="307976"/>
          </a:xfrm>
          <a:custGeom>
            <a:avLst/>
            <a:gdLst/>
            <a:ahLst/>
            <a:cxnLst/>
            <a:rect l="0" t="0" r="0" b="0"/>
            <a:pathLst>
              <a:path w="930276" h="307976">
                <a:moveTo>
                  <a:pt x="0" y="250825"/>
                </a:moveTo>
                <a:lnTo>
                  <a:pt x="930275" y="0"/>
                </a:lnTo>
                <a:lnTo>
                  <a:pt x="930275" y="57150"/>
                </a:lnTo>
                <a:lnTo>
                  <a:pt x="0" y="3079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6" name="Freeform 15"/>
          <p:cNvSpPr/>
          <p:nvPr>
            <p:custDataLst>
              <p:tags r:id="rId11"/>
            </p:custDataLst>
          </p:nvPr>
        </p:nvSpPr>
        <p:spPr bwMode="auto">
          <a:xfrm>
            <a:off x="8242300" y="3640138"/>
            <a:ext cx="930276" cy="307976"/>
          </a:xfrm>
          <a:custGeom>
            <a:avLst/>
            <a:gdLst/>
            <a:ahLst/>
            <a:cxnLst/>
            <a:rect l="0" t="0" r="0" b="0"/>
            <a:pathLst>
              <a:path w="930276" h="307976">
                <a:moveTo>
                  <a:pt x="0" y="250825"/>
                </a:moveTo>
                <a:lnTo>
                  <a:pt x="930275" y="0"/>
                </a:lnTo>
                <a:lnTo>
                  <a:pt x="930275" y="57150"/>
                </a:lnTo>
                <a:lnTo>
                  <a:pt x="0" y="3079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2"/>
            </p:custDataLst>
          </p:nvPr>
        </p:nvSpPr>
        <p:spPr bwMode="auto">
          <a:xfrm>
            <a:off x="711200" y="3640138"/>
            <a:ext cx="930276" cy="250826"/>
          </a:xfrm>
          <a:custGeom>
            <a:avLst/>
            <a:gdLst/>
            <a:ahLst/>
            <a:cxnLst/>
            <a:rect l="0" t="0" r="0" b="0"/>
            <a:pathLst>
              <a:path w="930276" h="250826">
                <a:moveTo>
                  <a:pt x="0" y="250825"/>
                </a:moveTo>
                <a:lnTo>
                  <a:pt x="9302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Freeform 11"/>
          <p:cNvSpPr/>
          <p:nvPr>
            <p:custDataLst>
              <p:tags r:id="rId13"/>
            </p:custDataLst>
          </p:nvPr>
        </p:nvSpPr>
        <p:spPr bwMode="auto">
          <a:xfrm>
            <a:off x="711200" y="3697288"/>
            <a:ext cx="930276" cy="250826"/>
          </a:xfrm>
          <a:custGeom>
            <a:avLst/>
            <a:gdLst/>
            <a:ahLst/>
            <a:cxnLst/>
            <a:rect l="0" t="0" r="0" b="0"/>
            <a:pathLst>
              <a:path w="930276" h="250826">
                <a:moveTo>
                  <a:pt x="0" y="250825"/>
                </a:moveTo>
                <a:lnTo>
                  <a:pt x="9302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4"/>
            </p:custDataLst>
          </p:nvPr>
        </p:nvSpPr>
        <p:spPr bwMode="auto">
          <a:xfrm>
            <a:off x="8242300" y="3640138"/>
            <a:ext cx="930276" cy="250826"/>
          </a:xfrm>
          <a:custGeom>
            <a:avLst/>
            <a:gdLst/>
            <a:ahLst/>
            <a:cxnLst/>
            <a:rect l="0" t="0" r="0" b="0"/>
            <a:pathLst>
              <a:path w="930276" h="250826">
                <a:moveTo>
                  <a:pt x="0" y="250825"/>
                </a:moveTo>
                <a:lnTo>
                  <a:pt x="9302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Freeform 14"/>
          <p:cNvSpPr/>
          <p:nvPr>
            <p:custDataLst>
              <p:tags r:id="rId15"/>
            </p:custDataLst>
          </p:nvPr>
        </p:nvSpPr>
        <p:spPr bwMode="auto">
          <a:xfrm>
            <a:off x="8242300" y="3697288"/>
            <a:ext cx="930276" cy="250826"/>
          </a:xfrm>
          <a:custGeom>
            <a:avLst/>
            <a:gdLst/>
            <a:ahLst/>
            <a:cxnLst/>
            <a:rect l="0" t="0" r="0" b="0"/>
            <a:pathLst>
              <a:path w="930276" h="250826">
                <a:moveTo>
                  <a:pt x="0" y="250825"/>
                </a:moveTo>
                <a:lnTo>
                  <a:pt x="9302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6"/>
            </p:custDataLst>
          </p:nvPr>
        </p:nvCxnSpPr>
        <p:spPr bwMode="auto">
          <a:xfrm flipV="1">
            <a:off x="1176338" y="2160589"/>
            <a:ext cx="0" cy="809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7"/>
            </p:custDataLst>
          </p:nvPr>
        </p:nvCxnSpPr>
        <p:spPr bwMode="auto">
          <a:xfrm>
            <a:off x="1176338" y="2160588"/>
            <a:ext cx="75311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8"/>
            </p:custDataLst>
          </p:nvPr>
        </p:nvCxnSpPr>
        <p:spPr bwMode="auto">
          <a:xfrm>
            <a:off x="8707438" y="2160588"/>
            <a:ext cx="0" cy="1524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Rectangle 58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471738" y="254635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8EE2EA8-235A-4812-9133-CD390CFDCD6C}" type="datetime'''''''''''''-''''''''''''''''''1'''',''''''''''0''0''0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1,00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6.1%)</a:t>
            </a: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462963" y="4706938"/>
            <a:ext cx="4889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defRPr/>
            </a:pPr>
            <a:fld id="{BDF20D4A-2903-4E73-88C9-2A9566698645}" type="datetime''''' ''P''''R''''6''''9''''.''''S''''P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  <a:defRPr/>
              </a:pPr>
              <a:t> PR69.SP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919163" y="4706938"/>
            <a:ext cx="5159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defRPr/>
            </a:pPr>
            <a:fld id="{56F14FFC-2A97-4BEF-BB2F-E22AFAA360D1}" type="datetime' ''PR''''6''''''''''8.''OP''''''''&#10;''Of''fi''''''''cia''''l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  <a:defRPr/>
              </a:pPr>
              <a:t> PR68.OP
Official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2168525" y="4706938"/>
            <a:ext cx="10287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defRPr/>
            </a:pPr>
            <a:fld id="{6330C637-6018-433D-B327-C0F08D203EB4}" type="datetime'''''N''E''''V Ma''''r''ket'''''' E''''''f''f''e''ct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  <a:defRPr/>
              </a:pPr>
              <a:t>NEV Market Effect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963988" y="2546350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80236E4-FF31-4EF7-8733-C120F2E66C4F}" type="datetime'''''1'''''',''''''0''''''''''''''''''0''''0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,000</a:t>
            </a:fld>
            <a:endParaRPr lang="en-US" altLang="en-US" sz="1000" b="1" dirty="0" smtClean="0"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latin typeface="+mj-lt"/>
                <a:ea typeface="+mj-ea"/>
                <a:cs typeface="+mj-cs"/>
                <a:sym typeface="+mj-lt"/>
              </a:rPr>
              <a:t>(+0.9%)</a:t>
            </a: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794125" y="4706938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defRPr/>
            </a:pPr>
            <a:fld id="{D4FFCFED-9FAB-4460-811A-EE0B7340B6A9}" type="datetime'''''Pr''''''od''''''''''uc''''''t'''''' ''E''f''fect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  <a:defRPr/>
              </a:pPr>
              <a:t>Product Effect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235575" y="4706938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defRPr/>
            </a:pPr>
            <a:fld id="{736C47C6-6B74-4CCC-82E7-F295698E4834}" type="datetime'C''y''cl''''e'''' Pl''a''n E''''''f''''''''''fe''''''''ct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  <a:defRPr/>
              </a:pPr>
              <a:t>Cycle Plan Effect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975475" y="2451100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BEEC551-7312-4217-BC7B-D8C17E82E950}" type="datetime'''''''''''''''''''''2''''''''0''''''''''''''''''''''''''''0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0</a:t>
            </a:fld>
            <a:endParaRPr lang="en-US" altLang="en-US" sz="1000" b="1" dirty="0" smtClean="0"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latin typeface="+mj-lt"/>
                <a:ea typeface="+mj-ea"/>
                <a:cs typeface="+mj-cs"/>
                <a:sym typeface="+mj-lt"/>
              </a:rPr>
              <a:t>(+1.6%)</a:t>
            </a: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551488" y="2498726"/>
            <a:ext cx="2873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50D7667-3DE5-455E-9395-9045154C3DDB}" type="datetime'''''''-''''''''''''''''''''3''''''''''7''''0'''''">
              <a:rPr lang="en-US" altLang="en-US" sz="1000" b="1" smtClean="0">
                <a:solidFill>
                  <a:schemeClr val="bg1"/>
                </a:solidFill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-370</a:t>
            </a:fld>
            <a:endParaRPr lang="en-US" sz="1000" b="1" noProof="0" dirty="0" smtClean="0">
              <a:solidFill>
                <a:schemeClr val="bg1"/>
              </a:solidFill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842125" y="4706938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defRPr/>
            </a:pPr>
            <a:fld id="{5F05EE76-03FD-4589-9195-81D4C6D8E8FC}" type="datetime'''''Pe''''''r''''f''''or''''m''''''''''''''an''''c''''''e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  <a:defRPr/>
              </a:pPr>
              <a:t>Performance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923925" y="2279650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defRPr/>
            </a:pPr>
            <a:fld id="{E586C5FA-9E48-4AFC-890E-143D9FDDACCF}" type="datetime'''''10'''''''''',''''0''''''''0''''''''0'">
              <a:rPr lang="en-US" altLang="en-US" sz="12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  <a:defRPr/>
              </a:pPr>
              <a:t>10,000</a:t>
            </a:fld>
            <a:endParaRPr lang="en-US" sz="12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497888" y="2351088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defRPr/>
            </a:pPr>
            <a:fld id="{F94D4AD9-6874-4913-989C-0B9E566B5F1B}" type="datetime'9'''''',''''''''8''''''''''3''0'''''''''''">
              <a:rPr lang="en-US" altLang="en-US" sz="12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  <a:defRPr/>
              </a:pPr>
              <a:t>9,830</a:t>
            </a:fld>
            <a:endParaRPr lang="en-US" sz="12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667250" y="1922463"/>
            <a:ext cx="550863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defRPr/>
            </a:pPr>
            <a:fld id="{398205A9-73DF-4AE5-A693-0AB8D7D02EA3}" type="datetime'''''-''''''''17''''''''''''''''''0'''''''''''">
              <a:rPr lang="en-US" altLang="en-US" sz="1000" b="1" smtClean="0">
                <a:solidFill>
                  <a:srgbClr val="C00000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  <a:defRPr/>
              </a:pPr>
              <a:t>-170</a:t>
            </a:fld>
            <a:r>
              <a:rPr lang="en-US" altLang="en-US" sz="1000" b="1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1000" b="1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1000" b="1" smtClean="0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  <a:t>(</a:t>
            </a:r>
            <a:fld id="{14A954ED-3AA4-4CC2-A302-C765998BBF63}" type="datetime'''''''''''''''''''''''''''-''''1''''''.7''''''''''%'''''''">
              <a:rPr lang="en-US" altLang="en-US" sz="1000" b="1" smtClean="0">
                <a:solidFill>
                  <a:srgbClr val="C00000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  <a:defRPr/>
              </a:pPr>
              <a:t>-1.7%</a:t>
            </a:fld>
            <a:r>
              <a:rPr lang="en-US" altLang="en-US" sz="1000" b="1" smtClean="0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1000" b="1" dirty="0">
              <a:solidFill>
                <a:srgbClr val="C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364052"/>
              </p:ext>
            </p:extLst>
          </p:nvPr>
        </p:nvGraphicFramePr>
        <p:xfrm>
          <a:off x="392116" y="5145676"/>
          <a:ext cx="9083568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3945578437"/>
                    </a:ext>
                  </a:extLst>
                </a:gridCol>
                <a:gridCol w="6426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37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103" name="Table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7186226"/>
              </p:ext>
            </p:extLst>
          </p:nvPr>
        </p:nvGraphicFramePr>
        <p:xfrm>
          <a:off x="2013386" y="3161057"/>
          <a:ext cx="1214851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XX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</a:tbl>
          </a:graphicData>
        </a:graphic>
      </p:graphicFrame>
      <p:sp>
        <p:nvSpPr>
          <p:cNvPr id="104" name="TextBox 103"/>
          <p:cNvSpPr txBox="1"/>
          <p:nvPr/>
        </p:nvSpPr>
        <p:spPr>
          <a:xfrm>
            <a:off x="367333" y="1451742"/>
            <a:ext cx="655984" cy="3770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; Porsche and Lamborghini data refer to PR69 SP Status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7904075"/>
              </p:ext>
            </p:extLst>
          </p:nvPr>
        </p:nvGraphicFramePr>
        <p:xfrm>
          <a:off x="5016267" y="3161057"/>
          <a:ext cx="1390883" cy="624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2283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58600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17976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OP Delay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0486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10486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2254300"/>
                  </a:ext>
                </a:extLst>
              </a:tr>
              <a:tr h="10486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983892"/>
                  </a:ext>
                </a:extLst>
              </a:tr>
              <a:tr h="10486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5490797"/>
                  </a:ext>
                </a:extLst>
              </a:tr>
            </a:tbl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2571881"/>
              </p:ext>
            </p:extLst>
          </p:nvPr>
        </p:nvGraphicFramePr>
        <p:xfrm>
          <a:off x="3390899" y="3161057"/>
          <a:ext cx="1397001" cy="966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4970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22031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38062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New Project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340462"/>
                  </a:ext>
                </a:extLst>
              </a:tr>
              <a:tr h="13806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13806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6045294"/>
                  </a:ext>
                </a:extLst>
              </a:tr>
              <a:tr h="138062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Cancellation</a:t>
                      </a: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18808"/>
                  </a:ext>
                </a:extLst>
              </a:tr>
              <a:tr h="13806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6040493"/>
                  </a:ext>
                </a:extLst>
              </a:tr>
              <a:tr h="13806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9033641"/>
                  </a:ext>
                </a:extLst>
              </a:tr>
              <a:tr h="13806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2938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394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830504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30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2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cxnSp>
        <p:nvCxnSpPr>
          <p:cNvPr id="27" name="Straight Connector 26"/>
          <p:cNvCxnSpPr/>
          <p:nvPr>
            <p:custDataLst>
              <p:tags r:id="rId4"/>
            </p:custDataLst>
          </p:nvPr>
        </p:nvCxnSpPr>
        <p:spPr bwMode="auto">
          <a:xfrm>
            <a:off x="4005262" y="2727325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5"/>
            </p:custDataLst>
          </p:nvPr>
        </p:nvCxnSpPr>
        <p:spPr bwMode="auto">
          <a:xfrm>
            <a:off x="7907337" y="2722563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6"/>
            </p:custDataLst>
          </p:nvPr>
        </p:nvCxnSpPr>
        <p:spPr bwMode="auto">
          <a:xfrm>
            <a:off x="6605587" y="2533650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 bwMode="auto">
          <a:xfrm>
            <a:off x="2705099" y="2722563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8"/>
            </p:custDataLst>
          </p:nvPr>
        </p:nvCxnSpPr>
        <p:spPr bwMode="auto">
          <a:xfrm>
            <a:off x="1403349" y="2184400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9"/>
            </p:custDataLst>
          </p:nvPr>
        </p:nvCxnSpPr>
        <p:spPr bwMode="auto">
          <a:xfrm>
            <a:off x="5305424" y="2722563"/>
            <a:ext cx="5778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Rectangle 14"/>
          <p:cNvSpPr/>
          <p:nvPr>
            <p:custDataLst>
              <p:tags r:id="rId10"/>
            </p:custDataLst>
          </p:nvPr>
        </p:nvSpPr>
        <p:spPr bwMode="auto">
          <a:xfrm>
            <a:off x="3282950" y="2722563"/>
            <a:ext cx="722313" cy="4763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Rectangle 23"/>
          <p:cNvSpPr/>
          <p:nvPr>
            <p:custDataLst>
              <p:tags r:id="rId11"/>
            </p:custDataLst>
          </p:nvPr>
        </p:nvSpPr>
        <p:spPr bwMode="auto">
          <a:xfrm>
            <a:off x="4583113" y="2722563"/>
            <a:ext cx="722312" cy="4763"/>
          </a:xfrm>
          <a:prstGeom prst="rect">
            <a:avLst/>
          </a:prstGeom>
          <a:solidFill>
            <a:srgbClr val="79BD8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65" name="Chart 64"/>
          <p:cNvGraphicFramePr/>
          <p:nvPr>
            <p:custDataLst>
              <p:tags r:id="rId12"/>
            </p:custDataLst>
          </p:nvPr>
        </p:nvGraphicFramePr>
        <p:xfrm>
          <a:off x="309563" y="2101850"/>
          <a:ext cx="9269412" cy="2066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 useBgFill="1">
        <p:nvSpPr>
          <p:cNvPr id="22" name="Freeform 21"/>
          <p:cNvSpPr/>
          <p:nvPr>
            <p:custDataLst>
              <p:tags r:id="rId13"/>
            </p:custDataLst>
          </p:nvPr>
        </p:nvSpPr>
        <p:spPr bwMode="auto">
          <a:xfrm>
            <a:off x="8447088" y="3271838"/>
            <a:ext cx="798513" cy="271463"/>
          </a:xfrm>
          <a:custGeom>
            <a:avLst/>
            <a:gdLst/>
            <a:ahLst/>
            <a:cxnLst/>
            <a:rect l="0" t="0" r="0" b="0"/>
            <a:pathLst>
              <a:path w="798513" h="271463">
                <a:moveTo>
                  <a:pt x="0" y="214312"/>
                </a:moveTo>
                <a:lnTo>
                  <a:pt x="798512" y="0"/>
                </a:lnTo>
                <a:lnTo>
                  <a:pt x="798512" y="57150"/>
                </a:lnTo>
                <a:lnTo>
                  <a:pt x="0" y="2714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8" name="Freeform 17"/>
          <p:cNvSpPr/>
          <p:nvPr>
            <p:custDataLst>
              <p:tags r:id="rId14"/>
            </p:custDataLst>
          </p:nvPr>
        </p:nvSpPr>
        <p:spPr bwMode="auto">
          <a:xfrm>
            <a:off x="642938" y="3271838"/>
            <a:ext cx="798513" cy="271463"/>
          </a:xfrm>
          <a:custGeom>
            <a:avLst/>
            <a:gdLst/>
            <a:ahLst/>
            <a:cxnLst/>
            <a:rect l="0" t="0" r="0" b="0"/>
            <a:pathLst>
              <a:path w="798513" h="271463">
                <a:moveTo>
                  <a:pt x="0" y="214312"/>
                </a:moveTo>
                <a:lnTo>
                  <a:pt x="798512" y="0"/>
                </a:lnTo>
                <a:lnTo>
                  <a:pt x="798512" y="57150"/>
                </a:lnTo>
                <a:lnTo>
                  <a:pt x="0" y="2714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reeform 16"/>
          <p:cNvSpPr/>
          <p:nvPr>
            <p:custDataLst>
              <p:tags r:id="rId15"/>
            </p:custDataLst>
          </p:nvPr>
        </p:nvSpPr>
        <p:spPr bwMode="auto">
          <a:xfrm>
            <a:off x="642938" y="3328988"/>
            <a:ext cx="798513" cy="214313"/>
          </a:xfrm>
          <a:custGeom>
            <a:avLst/>
            <a:gdLst/>
            <a:ahLst/>
            <a:cxnLst/>
            <a:rect l="0" t="0" r="0" b="0"/>
            <a:pathLst>
              <a:path w="798513" h="214313">
                <a:moveTo>
                  <a:pt x="0" y="214312"/>
                </a:moveTo>
                <a:lnTo>
                  <a:pt x="7985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reeform 15"/>
          <p:cNvSpPr/>
          <p:nvPr>
            <p:custDataLst>
              <p:tags r:id="rId16"/>
            </p:custDataLst>
          </p:nvPr>
        </p:nvSpPr>
        <p:spPr bwMode="auto">
          <a:xfrm>
            <a:off x="642938" y="3271838"/>
            <a:ext cx="798513" cy="214313"/>
          </a:xfrm>
          <a:custGeom>
            <a:avLst/>
            <a:gdLst/>
            <a:ahLst/>
            <a:cxnLst/>
            <a:rect l="0" t="0" r="0" b="0"/>
            <a:pathLst>
              <a:path w="798513" h="214313">
                <a:moveTo>
                  <a:pt x="0" y="214312"/>
                </a:moveTo>
                <a:lnTo>
                  <a:pt x="7985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Freeform 18"/>
          <p:cNvSpPr/>
          <p:nvPr>
            <p:custDataLst>
              <p:tags r:id="rId17"/>
            </p:custDataLst>
          </p:nvPr>
        </p:nvSpPr>
        <p:spPr bwMode="auto">
          <a:xfrm>
            <a:off x="8447088" y="3271838"/>
            <a:ext cx="798513" cy="214313"/>
          </a:xfrm>
          <a:custGeom>
            <a:avLst/>
            <a:gdLst/>
            <a:ahLst/>
            <a:cxnLst/>
            <a:rect l="0" t="0" r="0" b="0"/>
            <a:pathLst>
              <a:path w="798513" h="214313">
                <a:moveTo>
                  <a:pt x="0" y="214312"/>
                </a:moveTo>
                <a:lnTo>
                  <a:pt x="7985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Freeform 20"/>
          <p:cNvSpPr/>
          <p:nvPr>
            <p:custDataLst>
              <p:tags r:id="rId18"/>
            </p:custDataLst>
          </p:nvPr>
        </p:nvSpPr>
        <p:spPr bwMode="auto">
          <a:xfrm>
            <a:off x="8447088" y="3328988"/>
            <a:ext cx="798513" cy="214313"/>
          </a:xfrm>
          <a:custGeom>
            <a:avLst/>
            <a:gdLst/>
            <a:ahLst/>
            <a:cxnLst/>
            <a:rect l="0" t="0" r="0" b="0"/>
            <a:pathLst>
              <a:path w="798513" h="214313">
                <a:moveTo>
                  <a:pt x="0" y="214312"/>
                </a:moveTo>
                <a:lnTo>
                  <a:pt x="7985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4" name="Straight Connector 123"/>
          <p:cNvCxnSpPr/>
          <p:nvPr>
            <p:custDataLst>
              <p:tags r:id="rId19"/>
            </p:custDataLst>
          </p:nvPr>
        </p:nvCxnSpPr>
        <p:spPr bwMode="auto">
          <a:xfrm>
            <a:off x="8845550" y="1876425"/>
            <a:ext cx="0" cy="6143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2" name="Straight Connector 121"/>
          <p:cNvCxnSpPr/>
          <p:nvPr>
            <p:custDataLst>
              <p:tags r:id="rId20"/>
            </p:custDataLst>
          </p:nvPr>
        </p:nvCxnSpPr>
        <p:spPr bwMode="auto">
          <a:xfrm flipV="1">
            <a:off x="1041400" y="18764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21"/>
            </p:custDataLst>
          </p:nvPr>
        </p:nvCxnSpPr>
        <p:spPr bwMode="auto">
          <a:xfrm>
            <a:off x="1041400" y="1876425"/>
            <a:ext cx="780415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Rectangle 5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84200" y="4129088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8723313" y="252888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C584D33-1658-4A1C-900A-0F0F37D295E4}" type="datetime'''''9''''''00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900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588375" y="4129088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602E595-9A61-4472-89C0-73C971BF0F42}" type="datetime' ''''''P''''''''R''''69''''''''''''.O''''''''''''''''P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7327900" y="4129088"/>
            <a:ext cx="4349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CC9B5E0-D573-4032-87B0-45C190312C99}" type="datetime'O''''t''''''''''''''''''he''''''''r''''''''''''''''s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Others</a:t>
            </a:fld>
            <a:r>
              <a:rPr lang="en-US" altLang="en-US" sz="1000" b="1" dirty="0" smtClean="0">
                <a:solidFill>
                  <a:srgbClr val="000000"/>
                </a:solidFill>
              </a:rPr>
              <a:t>*</a:t>
            </a:r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334250" y="245903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3AEBEC7-E503-468C-AFE4-8E35133EE624}" type="datetime'-''''''''''''''''''''3''''5'''''''''''''''">
              <a:rPr lang="en-US" altLang="en-US" sz="1000" b="1" smtClean="0">
                <a:solidFill>
                  <a:schemeClr val="bg1"/>
                </a:solidFill>
              </a:rPr>
              <a:pPr algn="ctr">
                <a:spcAft>
                  <a:spcPct val="0"/>
                </a:spcAft>
              </a:pPr>
              <a:t>-35</a:t>
            </a:fld>
            <a:endParaRPr lang="en-US" altLang="en-US" sz="1000" b="1" dirty="0" smtClean="0">
              <a:solidFill>
                <a:schemeClr val="bg1"/>
              </a:solidFill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(-0.1%)</a:t>
            </a: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811838" y="4129088"/>
            <a:ext cx="86518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7198CF0-DE82-437F-B45E-9B54E15ACF67}" type="datetime'''''''J''''''''''A''C'''''' ''''''VW F''''urth''''e''r Chan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JAC 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68363" y="1990725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2924CDB-09FE-4F01-9983-0B058045BB9F}" type="datetime'''1,0''''''00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6018213" y="2459038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B41B1FB-C4B5-4218-8374-DA45F319E93B}" type="datetime'''''''''''''''''''''''''''''''''''3''''5'''''''''''''''''''">
              <a:rPr lang="en-US" altLang="en-US" sz="1000" b="1" smtClean="0"/>
              <a:pPr algn="ctr">
                <a:spcAft>
                  <a:spcPct val="0"/>
                </a:spcAft>
              </a:pPr>
              <a:t>35</a:t>
            </a:fld>
            <a:endParaRPr lang="en-US" altLang="en-US" sz="1000" b="1" dirty="0" smtClean="0"/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latin typeface="+mn-lt"/>
                <a:sym typeface="+mn-lt"/>
              </a:rPr>
              <a:t>(</a:t>
            </a:r>
            <a:r>
              <a:rPr lang="en-US" altLang="zh-CN" sz="1000" b="1" noProof="0" dirty="0" smtClean="0">
                <a:latin typeface="+mn-lt"/>
                <a:sym typeface="+mn-lt"/>
              </a:rPr>
              <a:t>+</a:t>
            </a:r>
            <a:r>
              <a:rPr lang="en-US" sz="1000" b="1" noProof="0" dirty="0" smtClean="0">
                <a:latin typeface="+mn-lt"/>
                <a:sym typeface="+mn-lt"/>
              </a:rPr>
              <a:t>0.</a:t>
            </a:r>
            <a:r>
              <a:rPr lang="en-US" altLang="zh-CN" sz="1000" b="1" noProof="0" dirty="0" smtClean="0">
                <a:latin typeface="+mn-lt"/>
                <a:sym typeface="+mn-lt"/>
              </a:rPr>
              <a:t>6</a:t>
            </a:r>
            <a:r>
              <a:rPr lang="en-US" sz="1000" b="1" noProof="0" dirty="0" smtClean="0">
                <a:latin typeface="+mn-lt"/>
                <a:sym typeface="+mn-lt"/>
              </a:rPr>
              <a:t>%)</a:t>
            </a: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4510088" y="4129088"/>
            <a:ext cx="8683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0DFC76F-2E4E-4BFF-83AF-857CBB556752}" type="datetime'SAI''''C'''' V''''W ''F''ur''''''t''''her C''ha''''''''ng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SAIC 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3209925" y="4129088"/>
            <a:ext cx="8683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03BB239-976D-45E2-98A1-8DFC0AEC61E6}" type="datetime'FA''''W-VW'' ''Fu''''''''r''t''her ''''''''Ch''''''ang''e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AW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3432176" y="2555875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42AF2F6-E2C4-4D51-AC8E-654FB81CA3BF}" type="datetime'-''''''''''''''''''''''''''''''''''''1'''''">
              <a:rPr lang="en-US" altLang="en-US" sz="1000" b="1" smtClean="0">
                <a:solidFill>
                  <a:schemeClr val="bg1"/>
                </a:solidFill>
              </a:rPr>
              <a:pPr algn="ctr">
                <a:spcAft>
                  <a:spcPct val="0"/>
                </a:spcAft>
              </a:pPr>
              <a:t>-1</a:t>
            </a:fld>
            <a:endParaRPr lang="en-US" altLang="en-US" sz="1000" b="1" dirty="0">
              <a:solidFill>
                <a:schemeClr val="bg1"/>
              </a:solidFill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(</a:t>
            </a:r>
            <a:r>
              <a:rPr lang="en-US" altLang="zh-CN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-</a:t>
            </a: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1.</a:t>
            </a:r>
            <a:r>
              <a:rPr lang="en-US" altLang="zh-CN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3</a:t>
            </a: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%)</a:t>
            </a: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718050" y="2555875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7740707-E8F8-43DF-81CF-D32CC036A49B}" type="datetime'''''''1'">
              <a:rPr lang="en-US" altLang="en-US" sz="1000" b="1" smtClean="0"/>
              <a:pPr algn="ctr">
                <a:spcAft>
                  <a:spcPct val="0"/>
                </a:spcAft>
              </a:pPr>
              <a:t>1</a:t>
            </a:fld>
            <a:endParaRPr lang="en-US" altLang="en-US" sz="1000" b="1" dirty="0" smtClean="0"/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latin typeface="+mn-lt"/>
                <a:sym typeface="+mn-lt"/>
              </a:rPr>
              <a:t>(</a:t>
            </a:r>
            <a:r>
              <a:rPr lang="en-US" altLang="zh-CN" sz="1000" b="1" noProof="0" dirty="0" smtClean="0">
                <a:latin typeface="+mn-lt"/>
                <a:sym typeface="+mn-lt"/>
              </a:rPr>
              <a:t>+1.0</a:t>
            </a:r>
            <a:r>
              <a:rPr lang="en-US" sz="1000" b="1" noProof="0" dirty="0" smtClean="0">
                <a:latin typeface="+mn-lt"/>
                <a:sym typeface="+mn-lt"/>
              </a:rPr>
              <a:t>%)</a:t>
            </a: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1806574" y="4129088"/>
            <a:ext cx="1073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03A8B29-ECDD-4CAD-9BE6-3CE5433644B7}" type="datetime'T''''ot''''''''a''l'' Ma''r''ket'' ''''''''''ef''f''ect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2132013" y="2284413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F68EB6A-EB98-4BFE-9097-EDA8CED28C36}" type="datetime'''''-''''''1''0''''''''0'''''''''''''''''''''''''''''''''''''">
              <a:rPr lang="en-US" altLang="en-US" sz="1000" b="1" smtClean="0">
                <a:solidFill>
                  <a:schemeClr val="bg1"/>
                </a:solidFill>
              </a:rPr>
              <a:pPr algn="ctr">
                <a:spcAft>
                  <a:spcPct val="0"/>
                </a:spcAft>
              </a:pPr>
              <a:t>-100</a:t>
            </a:fld>
            <a:endParaRPr lang="en-US" altLang="en-US" sz="1000" b="1" dirty="0" smtClean="0">
              <a:solidFill>
                <a:schemeClr val="bg1"/>
              </a:solidFill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n-lt"/>
                <a:sym typeface="+mn-lt"/>
              </a:rPr>
              <a:t>(-1.0%)</a:t>
            </a: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619625" y="163830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AB5024B-5CBD-4FAC-8BCD-013EB46B5835}" type="datetime'''''''''''''''''''''''''''''-''''''''''''10''''''''0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0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/>
            </a:r>
            <a:b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5D8D0D1B-6FC8-4E2D-8B58-30EB79C8E4BA}" type="datetime'''''''''-''''''''''''''1''''''''0.''''''''0''''%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0.0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366"/>
                </a:solidFill>
              </a:rPr>
              <a:t>Volkswagen Group China </a:t>
            </a:r>
            <a:r>
              <a:rPr lang="en-US" dirty="0" smtClean="0"/>
              <a:t>(CKD &amp; FBU) </a:t>
            </a:r>
            <a:r>
              <a:rPr lang="en-US" dirty="0" smtClean="0"/>
              <a:t>NEV PR69.OP </a:t>
            </a:r>
            <a:r>
              <a:rPr lang="en-US" dirty="0" smtClean="0"/>
              <a:t>vs. PR69.SP</a:t>
            </a:r>
            <a:r>
              <a:rPr lang="en-US" dirty="0" smtClean="0">
                <a:sym typeface="VWAG TheSans"/>
              </a:rPr>
              <a:t> - Acc. Volumes (2020-2030)</a:t>
            </a:r>
            <a:endParaRPr lang="en-US" dirty="0"/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/>
          </p:nvPr>
        </p:nvGraphicFramePr>
        <p:xfrm>
          <a:off x="392112" y="4475714"/>
          <a:ext cx="9104312" cy="1508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Market Effect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132067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/>
                      <a:endParaRPr lang="en-US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FAW-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SAIC 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JAC 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Other</a:t>
                      </a:r>
                      <a:r>
                        <a:rPr lang="en-US" sz="900" b="1" baseline="0" dirty="0" smtClean="0">
                          <a:latin typeface="+mn-lt"/>
                        </a:rPr>
                        <a:t>s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3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3070"/>
                  </a:ext>
                </a:extLst>
              </a:tr>
            </a:tbl>
          </a:graphicData>
        </a:graphic>
      </p:graphicFrame>
      <p:sp>
        <p:nvSpPr>
          <p:cNvPr id="5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63000" y="6548438"/>
            <a:ext cx="733425" cy="179387"/>
          </a:xfrm>
        </p:spPr>
        <p:txBody>
          <a:bodyPr/>
          <a:lstStyle/>
          <a:p>
            <a:fld id="{04ABC90F-D60A-4D10-BF9C-C7AC7A2BE08A}" type="slidenum">
              <a:rPr lang="de-DE" noProof="0" smtClean="0"/>
              <a:pPr/>
              <a:t>21</a:t>
            </a:fld>
            <a:endParaRPr lang="de-DE" noProof="0" dirty="0"/>
          </a:p>
        </p:txBody>
      </p:sp>
      <p:sp>
        <p:nvSpPr>
          <p:cNvPr id="5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6958" y="6558828"/>
            <a:ext cx="2235613" cy="265361"/>
          </a:xfrm>
        </p:spPr>
        <p:txBody>
          <a:bodyPr/>
          <a:lstStyle/>
          <a:p>
            <a:r>
              <a:rPr lang="en-US" noProof="0" dirty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97" name="Table 96"/>
          <p:cNvGraphicFramePr>
            <a:graphicFrameLocks noGrp="1"/>
          </p:cNvGraphicFramePr>
          <p:nvPr>
            <p:extLst/>
          </p:nvPr>
        </p:nvGraphicFramePr>
        <p:xfrm>
          <a:off x="1782791" y="2850211"/>
          <a:ext cx="1214851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XX%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XX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XX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sp>
        <p:nvSpPr>
          <p:cNvPr id="98" name="TextBox 97"/>
          <p:cNvSpPr txBox="1"/>
          <p:nvPr/>
        </p:nvSpPr>
        <p:spPr>
          <a:xfrm>
            <a:off x="367333" y="1578963"/>
            <a:ext cx="655984" cy="3770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348834" y="6273201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; Porsche and Lamborghini data refer to PR69 SP Status</a:t>
            </a:r>
            <a:endParaRPr lang="en-US" sz="800" dirty="0">
              <a:latin typeface="+mj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34230" y="6424014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*Others include all FBU and  Audi JV TBD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365857"/>
              </p:ext>
            </p:extLst>
          </p:nvPr>
        </p:nvGraphicFramePr>
        <p:xfrm>
          <a:off x="3194823" y="2850211"/>
          <a:ext cx="890546" cy="9315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937">
                  <a:extLst>
                    <a:ext uri="{9D8B030D-6E8A-4147-A177-3AD203B41FA5}">
                      <a16:colId xmlns:a16="http://schemas.microsoft.com/office/drawing/2014/main" val="695128959"/>
                    </a:ext>
                  </a:extLst>
                </a:gridCol>
                <a:gridCol w="255609">
                  <a:extLst>
                    <a:ext uri="{9D8B030D-6E8A-4147-A177-3AD203B41FA5}">
                      <a16:colId xmlns:a16="http://schemas.microsoft.com/office/drawing/2014/main" val="2429331632"/>
                    </a:ext>
                  </a:extLst>
                </a:gridCol>
              </a:tblGrid>
              <a:tr h="92884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547033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349725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75266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907581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83024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533868"/>
                  </a:ext>
                </a:extLst>
              </a:tr>
              <a:tr h="9933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995912"/>
                  </a:ext>
                </a:extLst>
              </a:tr>
            </a:tbl>
          </a:graphicData>
        </a:graphic>
      </p:graphicFrame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477261"/>
              </p:ext>
            </p:extLst>
          </p:nvPr>
        </p:nvGraphicFramePr>
        <p:xfrm>
          <a:off x="4490223" y="2850211"/>
          <a:ext cx="890546" cy="10629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937">
                  <a:extLst>
                    <a:ext uri="{9D8B030D-6E8A-4147-A177-3AD203B41FA5}">
                      <a16:colId xmlns:a16="http://schemas.microsoft.com/office/drawing/2014/main" val="695128959"/>
                    </a:ext>
                  </a:extLst>
                </a:gridCol>
                <a:gridCol w="255609">
                  <a:extLst>
                    <a:ext uri="{9D8B030D-6E8A-4147-A177-3AD203B41FA5}">
                      <a16:colId xmlns:a16="http://schemas.microsoft.com/office/drawing/2014/main" val="2429331632"/>
                    </a:ext>
                  </a:extLst>
                </a:gridCol>
              </a:tblGrid>
              <a:tr h="134987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547033"/>
                  </a:ext>
                </a:extLst>
              </a:tr>
              <a:tr h="12936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349725"/>
                  </a:ext>
                </a:extLst>
              </a:tr>
              <a:tr h="12936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75266"/>
                  </a:ext>
                </a:extLst>
              </a:tr>
              <a:tr h="12936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907581"/>
                  </a:ext>
                </a:extLst>
              </a:tr>
              <a:tr h="134987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83024"/>
                  </a:ext>
                </a:extLst>
              </a:tr>
              <a:tr h="12936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533868"/>
                  </a:ext>
                </a:extLst>
              </a:tr>
              <a:tr h="12936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995912"/>
                  </a:ext>
                </a:extLst>
              </a:tr>
              <a:tr h="129363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8846255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237180"/>
              </p:ext>
            </p:extLst>
          </p:nvPr>
        </p:nvGraphicFramePr>
        <p:xfrm>
          <a:off x="5776913" y="2850211"/>
          <a:ext cx="890546" cy="531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937">
                  <a:extLst>
                    <a:ext uri="{9D8B030D-6E8A-4147-A177-3AD203B41FA5}">
                      <a16:colId xmlns:a16="http://schemas.microsoft.com/office/drawing/2014/main" val="2512717756"/>
                    </a:ext>
                  </a:extLst>
                </a:gridCol>
                <a:gridCol w="255609">
                  <a:extLst>
                    <a:ext uri="{9D8B030D-6E8A-4147-A177-3AD203B41FA5}">
                      <a16:colId xmlns:a16="http://schemas.microsoft.com/office/drawing/2014/main" val="3165710745"/>
                    </a:ext>
                  </a:extLst>
                </a:gridCol>
              </a:tblGrid>
              <a:tr h="108509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063819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3264192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532345"/>
                  </a:ext>
                </a:extLst>
              </a:tr>
              <a:tr h="10398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51543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0236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9897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30" name="Straight Connector 29"/>
          <p:cNvCxnSpPr/>
          <p:nvPr>
            <p:custDataLst>
              <p:tags r:id="rId4"/>
            </p:custDataLst>
          </p:nvPr>
        </p:nvCxnSpPr>
        <p:spPr bwMode="auto">
          <a:xfrm>
            <a:off x="5830888" y="28733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5"/>
            </p:custDataLst>
          </p:nvPr>
        </p:nvCxnSpPr>
        <p:spPr bwMode="auto">
          <a:xfrm>
            <a:off x="4694238" y="29114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6"/>
            </p:custDataLst>
          </p:nvPr>
        </p:nvCxnSpPr>
        <p:spPr bwMode="auto">
          <a:xfrm>
            <a:off x="3556000" y="18954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 bwMode="auto">
          <a:xfrm>
            <a:off x="2417763" y="1911350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8"/>
            </p:custDataLst>
          </p:nvPr>
        </p:nvCxnSpPr>
        <p:spPr bwMode="auto">
          <a:xfrm>
            <a:off x="6969125" y="2827338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9"/>
            </p:custDataLst>
          </p:nvPr>
        </p:nvCxnSpPr>
        <p:spPr bwMode="auto">
          <a:xfrm>
            <a:off x="1279525" y="18954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10"/>
            </p:custDataLst>
          </p:nvPr>
        </p:nvCxnSpPr>
        <p:spPr bwMode="auto">
          <a:xfrm>
            <a:off x="8107363" y="2825750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9"/>
          <p:cNvSpPr/>
          <p:nvPr>
            <p:custDataLst>
              <p:tags r:id="rId11"/>
            </p:custDataLst>
          </p:nvPr>
        </p:nvSpPr>
        <p:spPr bwMode="auto">
          <a:xfrm>
            <a:off x="7473950" y="2825750"/>
            <a:ext cx="633413" cy="158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66" name="Chart 65"/>
          <p:cNvGraphicFramePr/>
          <p:nvPr>
            <p:custDataLst>
              <p:tags r:id="rId12"/>
            </p:custDataLst>
            <p:extLst/>
          </p:nvPr>
        </p:nvGraphicFramePr>
        <p:xfrm>
          <a:off x="311150" y="1812925"/>
          <a:ext cx="9269413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 useBgFill="1">
        <p:nvSpPr>
          <p:cNvPr id="7" name="Freeform 6"/>
          <p:cNvSpPr/>
          <p:nvPr>
            <p:custDataLst>
              <p:tags r:id="rId13"/>
            </p:custDataLst>
          </p:nvPr>
        </p:nvSpPr>
        <p:spPr bwMode="auto">
          <a:xfrm>
            <a:off x="608013" y="3298825"/>
            <a:ext cx="709613" cy="247650"/>
          </a:xfrm>
          <a:custGeom>
            <a:avLst/>
            <a:gdLst/>
            <a:ahLst/>
            <a:cxnLst/>
            <a:rect l="0" t="0" r="0" b="0"/>
            <a:pathLst>
              <a:path w="709613" h="247651">
                <a:moveTo>
                  <a:pt x="0" y="190500"/>
                </a:moveTo>
                <a:lnTo>
                  <a:pt x="709612" y="0"/>
                </a:lnTo>
                <a:lnTo>
                  <a:pt x="709612" y="57150"/>
                </a:lnTo>
                <a:lnTo>
                  <a:pt x="0" y="2476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3" name="Freeform 12"/>
          <p:cNvSpPr/>
          <p:nvPr>
            <p:custDataLst>
              <p:tags r:id="rId14"/>
            </p:custDataLst>
          </p:nvPr>
        </p:nvSpPr>
        <p:spPr bwMode="auto">
          <a:xfrm>
            <a:off x="8574088" y="3298825"/>
            <a:ext cx="709613" cy="247650"/>
          </a:xfrm>
          <a:custGeom>
            <a:avLst/>
            <a:gdLst/>
            <a:ahLst/>
            <a:cxnLst/>
            <a:rect l="0" t="0" r="0" b="0"/>
            <a:pathLst>
              <a:path w="709613" h="247651">
                <a:moveTo>
                  <a:pt x="0" y="190500"/>
                </a:moveTo>
                <a:lnTo>
                  <a:pt x="709612" y="0"/>
                </a:lnTo>
                <a:lnTo>
                  <a:pt x="709612" y="57150"/>
                </a:lnTo>
                <a:lnTo>
                  <a:pt x="0" y="2476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Freeform 5"/>
          <p:cNvSpPr/>
          <p:nvPr>
            <p:custDataLst>
              <p:tags r:id="rId15"/>
            </p:custDataLst>
          </p:nvPr>
        </p:nvSpPr>
        <p:spPr bwMode="auto">
          <a:xfrm>
            <a:off x="608013" y="335597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Freeform 4"/>
          <p:cNvSpPr/>
          <p:nvPr>
            <p:custDataLst>
              <p:tags r:id="rId16"/>
            </p:custDataLst>
          </p:nvPr>
        </p:nvSpPr>
        <p:spPr bwMode="auto">
          <a:xfrm>
            <a:off x="608013" y="329882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7"/>
            </p:custDataLst>
          </p:nvPr>
        </p:nvSpPr>
        <p:spPr bwMode="auto">
          <a:xfrm>
            <a:off x="8574088" y="329882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reeform 8"/>
          <p:cNvSpPr/>
          <p:nvPr>
            <p:custDataLst>
              <p:tags r:id="rId18"/>
            </p:custDataLst>
          </p:nvPr>
        </p:nvSpPr>
        <p:spPr bwMode="auto">
          <a:xfrm>
            <a:off x="8574088" y="335597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2" name="Straight Connector 121"/>
          <p:cNvCxnSpPr/>
          <p:nvPr>
            <p:custDataLst>
              <p:tags r:id="rId19"/>
            </p:custDataLst>
          </p:nvPr>
        </p:nvCxnSpPr>
        <p:spPr bwMode="auto">
          <a:xfrm flipV="1">
            <a:off x="962025" y="1581150"/>
            <a:ext cx="0" cy="825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Straight Connector 123"/>
          <p:cNvCxnSpPr/>
          <p:nvPr>
            <p:custDataLst>
              <p:tags r:id="rId20"/>
            </p:custDataLst>
          </p:nvPr>
        </p:nvCxnSpPr>
        <p:spPr bwMode="auto">
          <a:xfrm>
            <a:off x="8928100" y="1581150"/>
            <a:ext cx="0" cy="101282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21"/>
            </p:custDataLst>
          </p:nvPr>
        </p:nvCxnSpPr>
        <p:spPr bwMode="auto">
          <a:xfrm>
            <a:off x="962025" y="1581150"/>
            <a:ext cx="796607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/>
          <p:cNvCxnSpPr/>
          <p:nvPr>
            <p:custDataLst>
              <p:tags r:id="rId22"/>
            </p:custDataLst>
          </p:nvPr>
        </p:nvCxnSpPr>
        <p:spPr bwMode="auto">
          <a:xfrm>
            <a:off x="7789863" y="2800350"/>
            <a:ext cx="0" cy="254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/>
          <p:cNvCxnSpPr/>
          <p:nvPr>
            <p:custDataLst>
              <p:tags r:id="rId23"/>
            </p:custDataLst>
          </p:nvPr>
        </p:nvCxnSpPr>
        <p:spPr bwMode="auto">
          <a:xfrm>
            <a:off x="6651625" y="2801938"/>
            <a:ext cx="0" cy="476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24"/>
            </p:custDataLst>
          </p:nvPr>
        </p:nvCxnSpPr>
        <p:spPr bwMode="auto">
          <a:xfrm>
            <a:off x="5514975" y="2847974"/>
            <a:ext cx="0" cy="4445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Rectangle 54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755063" y="2632075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AD45911-CD87-4644-9BA6-071029684205}" type="datetime'1'''',3''''''''''''''''''''''''''''''''''''9''3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393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1889125" y="173513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4648D07C-83F4-425E-BF12-A7597C95BA2F}" type="datetime'1''''''''''''''''''''''''''''''''7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7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04825" y="3976688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1563688" y="3976688"/>
            <a:ext cx="1073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3A8B29-ECDD-4CAD-9BE6-3CE5433644B7}" type="datetime'T''''ot''''''''a''l'' Ma''r''ket'' ''''''''''ef''f''e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013075" y="1735138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2BE70B1-0F43-4643-91B3-0C9A0E02DC07}" type="datetime'''''''''''''''''''''''''''''1''''''8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8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2732088" y="3976688"/>
            <a:ext cx="1014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C81158-5872-4BC0-8C1D-3B4211D4B8C2}" type="datetime'V''''''W ''B''rand'''''' ''C''''''h''''''a''''''ng''''e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VW Brand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788988" y="170180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07FE4EC-998C-420A-ADAB-B08E607820DA}" type="datetime'2'',''''''''4''''''''''0''''''''''''''''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4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7737475" y="2632075"/>
            <a:ext cx="1047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8924DB9-4014-4D7E-9B30-A50D4941BAD7}" type="datetime'''''''''''''''''''''''''''''''''''''''2'''">
              <a:rPr lang="en-US" altLang="en-US" sz="1000" b="1" smtClean="0">
                <a:solidFill>
                  <a:srgbClr val="000000"/>
                </a:solidFill>
                <a:latin typeface="+mn-lt"/>
                <a:sym typeface="+mn-lt"/>
              </a:rPr>
              <a:pPr lvl="0" algn="ctr">
                <a:spcAft>
                  <a:spcPct val="0"/>
                </a:spcAft>
                <a:defRPr/>
              </a:pPr>
              <a:t>2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277100" y="3976688"/>
            <a:ext cx="10271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BF9853E-8B3D-4CC0-AD73-179250830791}" type="datetime'Oth''e''r'' FB''U'' ''C''''''''h''''a''''n''''g''''''''''''e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ther FBU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8670925" y="3976688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02E595-9A61-4472-89C0-73C971BF0F42}" type="datetime' ''''''P''''''''R''''69''''''''''''.O''''''''''''''''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5162550" y="3976688"/>
            <a:ext cx="7064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6DAD46-3C77-4A22-BEE6-98C8FAFACC2A}" type="datetime'S''''k''''od''a'' Br''''''''a''nd'' ''C''han''g''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koda Brand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5303838" y="25114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53090355-3E27-4919-B235-2AF66F25A8BF}" type="datetime'''''4''''''''''''''''''''''''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4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1.8%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3841750" y="3976688"/>
            <a:ext cx="10699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670FE76-16DB-4C4F-9A39-70635879D953}" type="datetime'''Au''''''d''''i'' Br''''''a''n''d'''''' C''h''''an''''''''ge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udi Brand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6208713" y="3976688"/>
            <a:ext cx="887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016EE7-05CB-44D4-95F3-E1A9BD03386E}" type="datetime'''J''A''''C-V''W ''C''ha''''''''n''''''''''''''g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AC-VW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4165600" y="223520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7BB71F95-AAD4-4F68-A50D-43ED635C8AB7}" type="datetime'''1'''''''''''''''''''''''''''''''',''''1''0''0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1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564313" y="2633663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D6664D0-4143-4CDD-9B41-B314A0C59D83}" type="datetime'''''''''''''''''''''5''''''''''0'">
              <a:rPr lang="en-US" altLang="en-US" sz="1000" b="1" smtClean="0">
                <a:solidFill>
                  <a:srgbClr val="000000"/>
                </a:solidFill>
                <a:latin typeface="+mn-lt"/>
                <a:sym typeface="+mn-lt"/>
              </a:rPr>
              <a:pPr lvl="0" algn="ctr">
                <a:spcAft>
                  <a:spcPct val="0"/>
                </a:spcAft>
                <a:defRPr/>
              </a:pPr>
              <a:t>50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4621213" y="1343025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7763E27-015C-47A9-A97D-83FC2EBB5E57}" type="datetime'''''-''''''''''1'''''''''',''''''''0''0''''''7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,007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/>
            </a:r>
            <a:b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B73D472E-EDEC-4F50-8A10-132A128C66D4}" type="datetime'''-''''''''''4''2.''''''''''0''%''''''''''''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2.0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4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228138" y="6548438"/>
            <a:ext cx="677862" cy="179387"/>
          </a:xfrm>
        </p:spPr>
        <p:txBody>
          <a:bodyPr/>
          <a:lstStyle/>
          <a:p>
            <a:pPr marL="0" marR="0" lvl="0" indent="0" algn="r" defTabSz="958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CF5D4C-9F6E-4E1F-A3C5-05B84EDEF6B8}" type="slidenum"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548438"/>
            <a:ext cx="1511300" cy="179387"/>
          </a:xfrm>
        </p:spPr>
        <p:txBody>
          <a:bodyPr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69755" y="3093586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ICE: </a:t>
            </a:r>
            <a:r>
              <a:rPr lang="en-US" sz="800" dirty="0" smtClean="0">
                <a:solidFill>
                  <a:srgbClr val="000000"/>
                </a:solidFill>
                <a:latin typeface="VWAG TheSans"/>
              </a:rPr>
              <a:t>XX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%</a:t>
            </a: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NEV: </a:t>
            </a:r>
            <a:r>
              <a:rPr lang="en-US" sz="800" dirty="0" smtClean="0">
                <a:solidFill>
                  <a:srgbClr val="000000"/>
                </a:solidFill>
                <a:latin typeface="VWAG TheSans"/>
              </a:rPr>
              <a:t>XX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%</a:t>
            </a: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</a:t>
            </a:r>
            <a:r>
              <a:rPr lang="en-US" sz="800" dirty="0" smtClean="0">
                <a:solidFill>
                  <a:srgbClr val="000000"/>
                </a:solidFill>
                <a:latin typeface="VWAG TheSans"/>
              </a:rPr>
              <a:t>XX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%</a:t>
            </a: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. MKT: </a:t>
            </a:r>
            <a:r>
              <a:rPr lang="en-US" sz="800" dirty="0" smtClean="0">
                <a:solidFill>
                  <a:srgbClr val="000000"/>
                </a:solidFill>
                <a:latin typeface="VWAG TheSans"/>
              </a:rPr>
              <a:t>XX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%</a:t>
            </a: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/>
          </p:nvPr>
        </p:nvGraphicFramePr>
        <p:xfrm>
          <a:off x="392111" y="4509120"/>
          <a:ext cx="9104311" cy="1828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Market Effect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10312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VW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Audi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Skoda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JAC-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065696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Other</a:t>
                      </a:r>
                      <a:r>
                        <a:rPr lang="en-US" sz="900" b="1" baseline="0" dirty="0" smtClean="0">
                          <a:latin typeface="+mn-lt"/>
                        </a:rPr>
                        <a:t> FBU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3070"/>
                  </a:ext>
                </a:extLst>
              </a:tr>
            </a:tbl>
          </a:graphicData>
        </a:graphic>
      </p:graphicFrame>
      <p:sp>
        <p:nvSpPr>
          <p:cNvPr id="49" name="Title 1"/>
          <p:cNvSpPr txBox="1">
            <a:spLocks/>
          </p:cNvSpPr>
          <p:nvPr/>
        </p:nvSpPr>
        <p:spPr bwMode="auto">
          <a:xfrm>
            <a:off x="393171" y="914931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Title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43583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15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58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de-DE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930536205"/>
              </p:ext>
            </p:extLst>
          </p:nvPr>
        </p:nvGraphicFramePr>
        <p:xfrm>
          <a:off x="1325461" y="2072080"/>
          <a:ext cx="7610418" cy="2899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366"/>
                </a:solidFill>
              </a:rPr>
              <a:t>Volkswagen </a:t>
            </a:r>
            <a:r>
              <a:rPr lang="de-DE" dirty="0">
                <a:solidFill>
                  <a:srgbClr val="003366"/>
                </a:solidFill>
              </a:rPr>
              <a:t>Group </a:t>
            </a:r>
            <a:r>
              <a:rPr lang="de-DE" dirty="0" smtClean="0">
                <a:solidFill>
                  <a:srgbClr val="003366"/>
                </a:solidFill>
              </a:rPr>
              <a:t>China </a:t>
            </a:r>
            <a:r>
              <a:rPr lang="en-US" dirty="0"/>
              <a:t>(CKD &amp; FBU </a:t>
            </a:r>
            <a:r>
              <a:rPr lang="en-US" dirty="0" smtClean="0"/>
              <a:t>)</a:t>
            </a:r>
            <a:r>
              <a:rPr lang="de-DE" dirty="0" smtClean="0">
                <a:solidFill>
                  <a:srgbClr val="003366"/>
                </a:solidFill>
              </a:rPr>
              <a:t>NEV Volume PR69.OP vs. PR69.S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23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2063260"/>
              </p:ext>
            </p:extLst>
          </p:nvPr>
        </p:nvGraphicFramePr>
        <p:xfrm>
          <a:off x="376958" y="4854564"/>
          <a:ext cx="8623541" cy="1371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5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1279586574"/>
                    </a:ext>
                  </a:extLst>
                </a:gridCol>
              </a:tblGrid>
              <a:tr h="384255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S% Delta (ppt) </a:t>
                      </a: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olkswagen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ihao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en-US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upra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764137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1605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kod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BU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76958" y="1362929"/>
            <a:ext cx="9224243" cy="376511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indent="-228600"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2023-2025 vs. </a:t>
            </a:r>
            <a:r>
              <a:rPr lang="en-US" sz="900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PR69.SP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, higher </a:t>
            </a:r>
            <a:r>
              <a:rPr lang="en-US" sz="900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NEV market share is caused by lower NEV </a:t>
            </a: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Market</a:t>
            </a:r>
            <a:endParaRPr lang="en-US" sz="900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99150" y="2626925"/>
            <a:ext cx="2209800" cy="1106875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199150" y="2626925"/>
            <a:ext cx="100776" cy="12176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86989" y="4419175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</a:t>
            </a:r>
            <a:r>
              <a:rPr lang="en-US" sz="800" b="1" dirty="0">
                <a:solidFill>
                  <a:srgbClr val="000000"/>
                </a:solidFill>
                <a:latin typeface="VWAG TheSans"/>
              </a:rPr>
              <a:t>unit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6509" y="3267561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NEV%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; Porsche and Lamborghini data refer to PR69 SP Status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4878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117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7850" name="think-cell Slide" r:id="rId36" imgW="470" imgH="469" progId="TCLayout.ActiveDocument.1">
                  <p:embed/>
                </p:oleObj>
              </mc:Choice>
              <mc:Fallback>
                <p:oleObj name="think-cell Slide" r:id="rId3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366"/>
                </a:solidFill>
              </a:rPr>
              <a:t>Volkswagen Group China (CKD &amp; FBU) NEV PR69.OP Volume Planning 2020-203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24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/>
          </p:nvPr>
        </p:nvGraphicFramePr>
        <p:xfrm>
          <a:off x="420684" y="3890798"/>
          <a:ext cx="9069390" cy="246580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154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102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baseline="0" dirty="0" smtClean="0">
                          <a:effectLst/>
                          <a:latin typeface="+mn-lt"/>
                        </a:rPr>
                        <a:t> Vol. by Brand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2019A</a:t>
                      </a:r>
                      <a:endParaRPr lang="en-US" sz="800" b="1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1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2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3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4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5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6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7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8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9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2030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latin typeface="+mn-lt"/>
                        </a:rPr>
                        <a:t>VW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109200"/>
                  </a:ext>
                </a:extLst>
              </a:tr>
              <a:tr h="213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latin typeface="+mn-lt"/>
                        </a:rPr>
                        <a:t>Audi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213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latin typeface="+mn-lt"/>
                        </a:rPr>
                        <a:t>Skoda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  <a:tr h="3352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800" b="1" kern="1200" dirty="0" err="1" smtClean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Sihao</a:t>
                      </a: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 (2019-23) /</a:t>
                      </a:r>
                      <a:r>
                        <a:rPr lang="en-US" sz="800" b="1" kern="1200" dirty="0" err="1" smtClean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Cupra</a:t>
                      </a: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 (2023-30)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75518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 FBU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0499929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811791"/>
                  </a:ext>
                </a:extLst>
              </a:tr>
            </a:tbl>
          </a:graphicData>
        </a:graphic>
      </p:graphicFrame>
      <p:graphicFrame>
        <p:nvGraphicFramePr>
          <p:cNvPr id="47" name="Chart 46"/>
          <p:cNvGraphicFramePr/>
          <p:nvPr>
            <p:custDataLst>
              <p:tags r:id="rId4"/>
            </p:custDataLst>
            <p:extLst/>
          </p:nvPr>
        </p:nvGraphicFramePr>
        <p:xfrm>
          <a:off x="1501775" y="1662113"/>
          <a:ext cx="8070850" cy="231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3" name="Straight Connector 2"/>
          <p:cNvCxnSpPr/>
          <p:nvPr>
            <p:custDataLst>
              <p:tags r:id="rId5"/>
            </p:custDataLst>
          </p:nvPr>
        </p:nvCxnSpPr>
        <p:spPr bwMode="auto">
          <a:xfrm>
            <a:off x="7183438" y="2797175"/>
            <a:ext cx="0" cy="31115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4" name="Rectangle 15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760538" y="32273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8D7C7B3-0323-4CEA-B46D-B097AB9BB1B2}" type="datetime'''''''''5''''''''''''''''''''''.''''''0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5" name="Rectangle 14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702050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8A737B2-5F82-4E6F-A799-463860C952EF}" type="datetime'1''''''0''''.''''''''0''''''''''''''''''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1" name="Rectangle 14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384425" y="278130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9531E75-8AAB-48C9-AF4D-97977658E5FD}" type="datetime'''''''''''''''''''''1''''''''0''''''.''''''0''''''''%'''">
              <a:rPr lang="en-US" altLang="en-US" sz="1000" b="1" smtClean="0"/>
              <a:pPr algn="ctr">
                <a:spcAft>
                  <a:spcPct val="0"/>
                </a:spcAft>
              </a:pPr>
              <a:t>10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4360863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5FE2834-36D6-4545-994E-E95669734EED}" type="datetime'''1''''''''''''0.''''''''0''''''''''%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4" name="Rectangle 14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043238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216DCA9-BDE5-4B5D-8934-296D43364CD3}" type="datetime'''''''1''''''''''''0.''''''''''''''0''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161" name="Rectangle 16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654925" y="2797175"/>
            <a:ext cx="37465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276EF13-CE08-456C-93D1-E2C5637A58BB}" type="datetime'''''1''''''''''''''''''''''''''''''''''''''''0.0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0" name="Rectangle 14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019675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7AF17F6-7E86-4D49-A147-367D7B128AE8}" type="datetime'''1''''''''0''''''''''''.0''''''''''''''''''''''%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678488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61BBC2C-DDDD-4A13-A180-263DF4B4890D}" type="datetime'''''1''''''''''0''''.''''''''0''''''%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5" name="Rectangle 15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337300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A769CE7-D342-49CD-A450-922AE52CBFA6}" type="datetime'''''''''''1''0''''.''''''''0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0" name="Rectangle 15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6996113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A6BD963-96A0-44C2-BCC6-75C332254FE4}" type="datetime'''''''''''1''0''.''''0''''%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425950" y="32845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FF7D954-4A6D-4D35-8808-ACC9394A7F26}" type="datetime'''''''''''''''''''''8''''''''''''''''''''''''''''''0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163" name="Rectangle 16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8313738" y="2797175"/>
            <a:ext cx="37465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4B99FBA-FA6E-492B-A4DE-2FB559793769}" type="datetime'''''''''''''''10''''''''''''''''''''''.''''0''%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152" name="Rectangle 15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138863" y="2962275"/>
            <a:ext cx="347663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14CE39A-F99E-4D17-9B26-8D89FA870260}" type="datetime'1'''''',4''''''''''''''''''''''0''''''''0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4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4" name="Rectangle 16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972550" y="278130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8D0D31C-FB0D-442A-9DE5-39DBD4F21EBA}" type="datetime'''''''''1''''''0''''.''0''''%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6" name="Rectangle 165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825625" y="3686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E10E52D-A2F9-4902-8673-7A5430A94E85}" type="datetime'''''''''''''''''''''''''''''''''5''''''0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7" name="Rectangle 16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449513" y="358933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F1D0D26-6928-4B02-90F2-40F607EFF23F}" type="datetime'2''''''''''''0''''''''''''''''''''''''''''''''''''''''''0'''">
              <a:rPr lang="en-US" altLang="en-US" sz="1000" b="1" smtClean="0"/>
              <a:pPr algn="ctr">
                <a:spcAft>
                  <a:spcPct val="0"/>
                </a:spcAft>
              </a:pPr>
              <a:t>200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108325" y="34988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125767C-0846-4EF8-8156-B7F99673B3F6}" type="datetime'''''''''''''4''''''0''''0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8" name="Rectangle 16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767138" y="33909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A71A285-B069-4F05-9223-9A29793FE8CD}" type="datetime'''''6''''''''''''''''''''''''''''0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3" name="Rectangle 14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033963" y="317658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5D90299-5B59-44D6-8B30-A2E0C355088D}" type="datetime'''''''''1,0''''''0''''''''''0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692775" y="30686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28BB8B7-5E0E-474A-BFD6-1DCE33BDAD46}" type="datetime'''''''1'''''',''2''''''''''0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2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70" name="Rectangle 16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8328025" y="2624138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2DFB238-5094-488E-BAEB-56B47357D2DB}" type="datetime'''''''2'''''''',''''''''''''''0''0''''''''''0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2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6" name="Rectangle 155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10400" y="2644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F164EBE-946A-49F1-836D-4B31B73741EE}" type="datetime'''''''''''''1'''''''''''',6''''''0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6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37" name="Rectangle 13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669213" y="2644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C1F06CD-2210-4785-AC45-24C446DB7721}" type="datetime'''1'''',''8''''''''''''''''''''''''''0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8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71" name="Rectangle 17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986838" y="2516188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DC6A06-2CAE-4AB3-80C7-DB8BE36B7902}" type="datetime'''''2'''',''2''''''''''''''''0''''''''''''''''0''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2,2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cxnSp>
        <p:nvCxnSpPr>
          <p:cNvPr id="173" name="Straight Connector 172"/>
          <p:cNvCxnSpPr/>
          <p:nvPr>
            <p:custDataLst>
              <p:tags r:id="rId30"/>
            </p:custDataLst>
          </p:nvPr>
        </p:nvCxnSpPr>
        <p:spPr bwMode="auto">
          <a:xfrm>
            <a:off x="492125" y="2244725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4" name="Rectangle 173"/>
          <p:cNvSpPr/>
          <p:nvPr>
            <p:custDataLst>
              <p:tags r:id="rId31"/>
            </p:custDataLst>
          </p:nvPr>
        </p:nvSpPr>
        <p:spPr bwMode="auto">
          <a:xfrm>
            <a:off x="522288" y="2365375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175" name="Oval 174"/>
          <p:cNvSpPr/>
          <p:nvPr>
            <p:custDataLst>
              <p:tags r:id="rId32"/>
            </p:custDataLst>
          </p:nvPr>
        </p:nvSpPr>
        <p:spPr bwMode="auto">
          <a:xfrm>
            <a:off x="538163" y="2219325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176" name="Rectangle 17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15963" y="2187575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E6514437-959A-4527-8626-A0180117556D}" type="datetime'''''''''''''''''N''''''''''''''EV'''' ''M''''S''''%''''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15963" y="2360613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92113" y="1850861"/>
            <a:ext cx="584200" cy="296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units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3456918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8873" name="think-cell Slide" r:id="rId35" imgW="470" imgH="469" progId="TCLayout.ActiveDocument.1">
                  <p:embed/>
                </p:oleObj>
              </mc:Choice>
              <mc:Fallback>
                <p:oleObj name="think-cell Slide" r:id="rId35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25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87" name="Chart 86"/>
          <p:cNvGraphicFramePr/>
          <p:nvPr>
            <p:custDataLst>
              <p:tags r:id="rId4"/>
            </p:custDataLst>
            <p:extLst/>
          </p:nvPr>
        </p:nvGraphicFramePr>
        <p:xfrm>
          <a:off x="1133475" y="2419350"/>
          <a:ext cx="8453438" cy="2538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46" name="Rectangle 4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40811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0A2DB3-D343-439A-A485-FE5955399AC7}" type="datetime'''''''''''''4''''''.''''''''''''''0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913563" y="38608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CB225F3-AE7C-489B-AB97-CA287BBD5965}" type="datetime'''''''''1,''''4''''''''''1''''''''''0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41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56" name="Rectangle 5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553075" y="4184650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FD72876-0A13-4584-BF9A-4FCE2753DD89}" type="datetime'''''''''''4.''''''''''''''''''''''''''8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098675" y="41497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B7F2B4-3959-4812-B54C-BD1B88463F42}" type="datetime'''''''''''''5''''''''.''''''''''''''''''0%'''''''">
              <a:rPr lang="en-US" altLang="en-US" sz="1000" b="1" smtClean="0"/>
              <a:pPr algn="ctr">
                <a:spcAft>
                  <a:spcPct val="0"/>
                </a:spcAft>
              </a:pPr>
              <a:t>5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479800" y="41656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88B7AB-4A59-474D-9E6A-9C70C589B922}" type="datetime'''''5''''''''''''''''''''''''''.''0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128838" y="455136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8F6D2E7-A868-46B8-9940-C13F0C346C84}" type="datetime'''''''''''''2''''''''2''''''''''''''''''''''0'''''''''''''''">
              <a:rPr lang="en-US" altLang="en-US" sz="1000" b="1" smtClean="0"/>
              <a:pPr algn="ctr">
                <a:spcAft>
                  <a:spcPct val="0"/>
                </a:spcAft>
              </a:pPr>
              <a:t>220</a:t>
            </a:fld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43" name="Rectangle 4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349625" y="4365625"/>
            <a:ext cx="244475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BB93FDD-AC0F-4DB5-AE73-ACCD3E5B75AE}" type="datetime'''''''''''''''''''''''''''''''''''''''''''''''5''''''''6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6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8315325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785F952-4089-400F-9E30-71EB9BA11346}" type="datetime'''''''''4.''''''8%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789238" y="40703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05B143A-1849-44CB-BEDC-0C7551A8554D}" type="datetime'''''''''''''6''.''''''''''''''''''''0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417036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E633025-084B-41DF-8792-378C978A6DC1}" type="datetime'''''''''''''''''''''''''4''''''.''''''0''''''''''%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862513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BA9F31A-422F-4072-BCE2-883BE926AB4B}" type="datetime'''''''4''''''''''.''''''''''''''8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243638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33C7579-5173-4F3B-A359-436205142C21}" type="datetime'''''4''''''''''''''.''8''''''''''''''%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8985250" y="35417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298935-B9DD-43F0-8807-0AB609B349B7}" type="datetime'''1'''',''9''''''''2''''''''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92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934200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4086F3-04E8-4FD5-9BEB-24118DC8FE0D}" type="datetime'4''''''''''''''''''''''''''''''''''''''.''8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624763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DCB7A31-804B-4EDD-B909-A447E4E1AD4D}" type="datetime'''''''''''''4''''''''''.''''''''''8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819400" y="4465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7B44D16-FA6C-437D-9D91-4E595C44AC1F}" type="datetime'''39''''''''''''''''''''''''0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9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9005888" y="416877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4547CE1-CF70-4FAA-9D57-52DAD2BEC7E1}" type="datetime'''''''''''''''''''''''''''''4''.''''''8''''%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473200" y="4667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86D228-F8F3-43FB-AB9F-F001DD90D07F}" type="datetime'''''''''''''''''''''5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200525" y="41084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ACED5C6-1F84-4082-B9F5-1B1CEDABCBB7}" type="datetime'''''''''''''''''''73''''''''''''''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3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891088" y="40322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CDDE87-2992-4940-87F9-0234D237554A}" type="datetime'''9''''''''''''''''''''''''''''''''''''0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532438" y="40322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61B049-BC28-4E0C-9CA1-2BD1933144D8}" type="datetime'''''''''''''''1'''''''',''''''''''''''''''''''''07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7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223000" y="39624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5C35985-2253-41A7-A108-5E9A0A89C125}" type="datetime'''''''''''''''''''''1'''''',2''''''''''''40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24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604125" y="37592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8B2FB74-3EBE-46B9-ABF2-C0C810B8E286}" type="datetime'''''''''''''1'''''''''''''''''''',''5''''''8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58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294688" y="36433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4F2C968-2449-4052-9127-2AEFCFF8FDD3}" type="datetime'''''''''''''''''1'',''''''''''''''''750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7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29"/>
            </p:custDataLst>
          </p:nvPr>
        </p:nvCxnSpPr>
        <p:spPr bwMode="auto">
          <a:xfrm>
            <a:off x="620713" y="38100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30"/>
            </p:custDataLst>
          </p:nvPr>
        </p:nvSpPr>
        <p:spPr bwMode="auto">
          <a:xfrm>
            <a:off x="650875" y="3930650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7" name="Oval 76"/>
          <p:cNvSpPr/>
          <p:nvPr>
            <p:custDataLst>
              <p:tags r:id="rId31"/>
            </p:custDataLst>
          </p:nvPr>
        </p:nvSpPr>
        <p:spPr bwMode="auto">
          <a:xfrm>
            <a:off x="666750" y="37846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44550" y="3752850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826833CC-24F0-4E2A-86F8-F52BCDE66F3F}" type="datetime'N''''''E''''''''''''V'' ''''''''''''''''''''M''''''''''S%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44550" y="39258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/>
          </p:nvPr>
        </p:nvGraphicFramePr>
        <p:xfrm>
          <a:off x="401445" y="4986938"/>
          <a:ext cx="9112675" cy="135331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1031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+mj-lt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+mj-lt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  <a:r>
                        <a:rPr lang="en-US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H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latin typeface="+mj-lt"/>
                        </a:rPr>
                        <a:t>MQB/MLB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+mj-lt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PE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612775" y="3416327"/>
            <a:ext cx="584093" cy="2974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units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3125700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54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olkswagen Group China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W Brand Passenger Car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33" name="Rectangle 4"/>
          <p:cNvSpPr>
            <a:spLocks noChangeArrowheads="1"/>
          </p:cNvSpPr>
          <p:nvPr/>
        </p:nvSpPr>
        <p:spPr bwMode="auto">
          <a:xfrm>
            <a:off x="411132" y="4126056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5</a:t>
            </a:r>
          </a:p>
        </p:txBody>
      </p: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411132" y="4717894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6</a:t>
            </a: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auto">
          <a:xfrm>
            <a:off x="411132" y="530973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7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Jetta Brand 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1012175" y="4126056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 </a:t>
            </a:r>
            <a:r>
              <a:rPr lang="en-US" altLang="zh-CN" sz="1800" b="1" dirty="0" err="1">
                <a:solidFill>
                  <a:srgbClr val="FFFFFF"/>
                </a:solidFill>
                <a:latin typeface="VWAG TheSans"/>
                <a:sym typeface="VWAG TheSans"/>
              </a:rPr>
              <a:t>Cupra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 Brand 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1012175" y="4717894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Audi Brand</a:t>
            </a: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1012175" y="530973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Skoda Brand</a:t>
            </a:r>
          </a:p>
        </p:txBody>
      </p:sp>
    </p:spTree>
    <p:extLst>
      <p:ext uri="{BB962C8B-B14F-4D97-AF65-F5344CB8AC3E}">
        <p14:creationId xmlns:p14="http://schemas.microsoft.com/office/powerpoint/2010/main" val="316855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757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VWAG TheSans" panose="020B0502050302020203" pitchFamily="34" charset="0"/>
              </a:rPr>
              <a:t>Volkswagen </a:t>
            </a:r>
            <a:r>
              <a:rPr lang="en-US" dirty="0" smtClean="0">
                <a:sym typeface="VWAG TheSans" panose="020B0502050302020203" pitchFamily="34" charset="0"/>
              </a:rPr>
              <a:t>Brand Cycle Plan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365038"/>
              </p:ext>
            </p:extLst>
          </p:nvPr>
        </p:nvGraphicFramePr>
        <p:xfrm>
          <a:off x="384581" y="1571708"/>
          <a:ext cx="9111844" cy="439785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555537">
                  <a:extLst>
                    <a:ext uri="{9D8B030D-6E8A-4147-A177-3AD203B41FA5}">
                      <a16:colId xmlns:a16="http://schemas.microsoft.com/office/drawing/2014/main" val="806253177"/>
                    </a:ext>
                  </a:extLst>
                </a:gridCol>
                <a:gridCol w="1791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3604">
                  <a:extLst>
                    <a:ext uri="{9D8B030D-6E8A-4147-A177-3AD203B41FA5}">
                      <a16:colId xmlns:a16="http://schemas.microsoft.com/office/drawing/2014/main" val="3404441349"/>
                    </a:ext>
                  </a:extLst>
                </a:gridCol>
                <a:gridCol w="16736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7428">
                  <a:extLst>
                    <a:ext uri="{9D8B030D-6E8A-4147-A177-3AD203B41FA5}">
                      <a16:colId xmlns:a16="http://schemas.microsoft.com/office/drawing/2014/main" val="365394444"/>
                    </a:ext>
                  </a:extLst>
                </a:gridCol>
              </a:tblGrid>
              <a:tr h="3040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 of Chan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 / JV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S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O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emarks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68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w Project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 Entry NB/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S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un-2023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hift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from Skoda Brand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9841">
                <a:tc vMerge="1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rgbClr val="026F4E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0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</a:t>
                      </a:r>
                      <a:r>
                        <a:rPr lang="en-US" sz="1000" b="0" baseline="0" dirty="0" err="1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UVe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/CM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baseline="0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an-2025</a:t>
                      </a:r>
                      <a:endParaRPr lang="en-US" sz="1000" b="0" i="0" u="none" strike="noStrike" dirty="0" smtClean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hift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from Cupra Brand. </a:t>
                      </a:r>
                    </a:p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n CP69.SP, SOP: Jun 2024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5086917"/>
                  </a:ext>
                </a:extLst>
              </a:tr>
              <a:tr h="276688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</a:t>
                      </a: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inus </a:t>
                      </a:r>
                      <a:r>
                        <a:rPr lang="en-US" sz="1000" baseline="0" dirty="0" err="1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UVe</a:t>
                      </a: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/ CN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ar-2023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Sep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6 months delay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47842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ero B/ CN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ar-2022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Mar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2 months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643353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B SMV/ CN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Nov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Feb-2021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 months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61651012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ero B/ CS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2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i="0" u="none" strike="noStrike" baseline="0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</a:t>
                      </a: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9 months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3018899"/>
                  </a:ext>
                </a:extLst>
              </a:tr>
              <a:tr h="73840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 Entry NB BEV/CM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3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i="0" u="none" strike="noStrike" baseline="0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</a:t>
                      </a: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2025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6289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n CP69.SP, Named ”A Small NB BEV”</a:t>
                      </a:r>
                    </a:p>
                    <a:p>
                      <a:pPr marL="26289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Change from White Cloud to Green Cloud</a:t>
                      </a:r>
                    </a:p>
                    <a:p>
                      <a:pPr marL="26289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1 months delay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375853"/>
                  </a:ext>
                </a:extLst>
              </a:tr>
              <a:tr h="276688">
                <a:tc rowSpan="5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 Pull Ahead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ayron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Coupe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o EOP planned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pr-2025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5 year volume loss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9472998"/>
                  </a:ext>
                </a:extLst>
              </a:tr>
              <a:tr h="276688">
                <a:tc vMerge="1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Golf SV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1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1229452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Gran </a:t>
                      </a:r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Lavid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Feb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4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11001884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algn="l"/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eramont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X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o EOP planned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Nov-2025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5 year volume loss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800530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algn="l"/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hideon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ug-2023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3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5183093"/>
                  </a:ext>
                </a:extLst>
              </a:tr>
              <a:tr h="276688"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EOP Extension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algn="l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antan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Oct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 months  Extension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759103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Green front refers to NEV products; </a:t>
            </a:r>
            <a:r>
              <a:rPr lang="en-US" sz="800" dirty="0">
                <a:latin typeface="+mj-lt"/>
              </a:rPr>
              <a:t>Major changes of model cycle plan were considered</a:t>
            </a:r>
          </a:p>
        </p:txBody>
      </p:sp>
      <p:sp>
        <p:nvSpPr>
          <p:cNvPr id="6" name="Up Arrow 5"/>
          <p:cNvSpPr/>
          <p:nvPr/>
        </p:nvSpPr>
        <p:spPr bwMode="auto">
          <a:xfrm>
            <a:off x="1622066" y="2088484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Up Arrow 10"/>
          <p:cNvSpPr/>
          <p:nvPr/>
        </p:nvSpPr>
        <p:spPr bwMode="auto">
          <a:xfrm flipV="1">
            <a:off x="1622066" y="3311659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3" name="Up Arrow 12"/>
          <p:cNvSpPr/>
          <p:nvPr/>
        </p:nvSpPr>
        <p:spPr bwMode="auto">
          <a:xfrm flipV="1">
            <a:off x="1622066" y="4903247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4" name="Up Arrow 13"/>
          <p:cNvSpPr/>
          <p:nvPr/>
        </p:nvSpPr>
        <p:spPr bwMode="auto">
          <a:xfrm>
            <a:off x="1622066" y="5739458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85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6257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605" name="think-cell Slide" r:id="rId74" imgW="470" imgH="469" progId="TCLayout.ActiveDocument.1">
                  <p:embed/>
                </p:oleObj>
              </mc:Choice>
              <mc:Fallback>
                <p:oleObj name="think-cell Slide" r:id="rId74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8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VWAG TheSans" panose="020B0502050302020203" pitchFamily="34" charset="0"/>
              </a:rPr>
              <a:t>Volkswagen </a:t>
            </a:r>
            <a:r>
              <a:rPr lang="en-US" dirty="0" smtClean="0">
                <a:sym typeface="VWAG TheSans" panose="020B0502050302020203" pitchFamily="34" charset="0"/>
              </a:rPr>
              <a:t>Brand </a:t>
            </a:r>
            <a:r>
              <a:rPr lang="en-US" dirty="0">
                <a:sym typeface="VWAG TheSans" panose="020B0502050302020203" pitchFamily="34" charset="0"/>
              </a:rPr>
              <a:t>(CKD &amp; FBU) </a:t>
            </a:r>
            <a:r>
              <a:rPr lang="en-US" dirty="0" smtClean="0">
                <a:sym typeface="VWAG TheSans" panose="020B0502050302020203" pitchFamily="34" charset="0"/>
              </a:rPr>
              <a:t>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>
                <a:sym typeface="VWAG TheSans" panose="020B0502050302020203" pitchFamily="34" charset="0"/>
              </a:rPr>
              <a:pPr/>
              <a:t>28</a:t>
            </a:fld>
            <a:endParaRPr lang="de-DE" noProof="0" dirty="0"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>
                <a:sym typeface="VWAG TheSans" panose="020B0502050302020203" pitchFamily="34" charset="0"/>
              </a:rPr>
              <a:t>Group Market and Sales Steering</a:t>
            </a:r>
            <a:endParaRPr lang="de-DE" noProof="0" dirty="0">
              <a:sym typeface="VWAG TheSans" panose="020B0502050302020203" pitchFamily="34" charset="0"/>
            </a:endParaRPr>
          </a:p>
        </p:txBody>
      </p:sp>
      <p:graphicFrame>
        <p:nvGraphicFramePr>
          <p:cNvPr id="109" name="Chart 108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83917485"/>
              </p:ext>
            </p:extLst>
          </p:nvPr>
        </p:nvGraphicFramePr>
        <p:xfrm>
          <a:off x="1147763" y="2619375"/>
          <a:ext cx="8431212" cy="314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86" name="Rectangle 8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387475" y="314166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D1E3139-F1DF-4C3B-8828-C7CEA0F607B4}" type="datetime'''''''''1''''''''''0''''''''''''''''''''.''0''''%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b="1" noProof="0" dirty="0" smtClean="0"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076449" y="291306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E3F31CD-D96E-40ED-93BD-F5D9BCAC0023}" type="datetime'1''''''''''''''''''''''''1''''.''''''''''''''0''''''''%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1.0%</a:t>
            </a:fld>
            <a:endParaRPr lang="en-US" sz="1000" b="1" noProof="0" dirty="0" smtClean="0"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436688" y="5018088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B53188E-800F-4F7B-A050-A25C36675CE0}" type="datetime'3,''''00''''''0'''''''''''''''''''">
              <a:rPr lang="en-US" altLang="en-US" sz="8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,000</a:t>
            </a:fld>
            <a:endParaRPr lang="en-US" sz="800" b="1" dirty="0"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504950" y="4416425"/>
            <a:ext cx="139700" cy="13335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6714395-D7A1-42F7-936E-58A1185561F9}" type="datetime'''''''''''''''3''''''''''''''''''''''''''0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30</a:t>
            </a:fld>
            <a:endParaRPr lang="en-US" sz="800" b="1" dirty="0">
              <a:solidFill>
                <a:schemeClr val="bg1"/>
              </a:solidFill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213225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B3049D8-BAF7-4370-ACEB-3F8F6265BD82}" type="datetime'''''''''2''''''''''0''''''''''''''''''2''''''''''3''''''''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3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457325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F20ADE8-9339-4367-A7B5-05721C20C669}" type="datetime'''''2''''''''''''''''''0''''''''''''''''''''1''''''''''9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19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193925" y="4800600"/>
            <a:ext cx="139700" cy="13335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D8DD510-97A4-49D6-86B8-7F28EE018619}" type="datetime'''9''''''''''''''''''''''''''''''0''''''''''''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90</a:t>
            </a:fld>
            <a:endParaRPr lang="en-US" sz="800" b="1" dirty="0">
              <a:solidFill>
                <a:schemeClr val="bg1"/>
              </a:solidFill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656513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2638F85-5364-4492-AA07-E5872AA99943}" type="datetime'''''''''''2''''''0''''''''''2''''''8''''''''''''''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8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125663" y="5216525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38070A9-7449-4548-A690-92C231E566EA}" type="datetime'''''2'''''''''''''''''''''''''''''',0''00'''''''''''''''">
              <a:rPr lang="en-US" altLang="en-US" sz="8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,000</a:t>
            </a:fld>
            <a:endParaRPr lang="en-US" sz="800" b="1" dirty="0"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8289925" y="420846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9D3F735-1579-489B-B362-6D67B54FDEF4}" type="datetime'3'''''',''''''''''''''0''''3''''''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,03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146300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D452547-61A6-4E46-91CA-A63371423982}" type="datetime'2''''''0''''''''2''''''''''''''''''''0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0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9013825" y="522287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5CB4E40-4887-4418-90D9-E1EE019372E5}" type="datetime'''''''''''''''''''''''''''''2'''''',''''00''''0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765425" y="31575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5D19DE6-83EC-4762-8C51-5F3433777B87}" type="datetime'''''''1''''''''''''''0''''''''.''''''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3468688" y="45926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1DD9B05-678E-4FA5-A12F-D801E3A20602}" type="datetime'''''''''''2'',''''''''09''''''''''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9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324850" y="50244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1583CA7-87B3-4006-A1A1-4CBB32050821}" type="datetime'''''''''''''''''''3'',''''''''''0''''0''''''''''''''''0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2835275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4C227A6-A41C-4528-88E8-D7DDAA106CC7}" type="datetime'''''''''''''''''''''2''''''''''''''''0''''''''2''''''''''1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1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882900" y="4422775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E342F94-5FCD-4751-8C7E-CCEAA0C4B72A}" type="datetime'''''''''''''''''''''3''''''''''''''''''''''''''''''''''0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0</a:t>
            </a:fld>
            <a:endParaRPr lang="en-US" sz="800" b="1" dirty="0">
              <a:solidFill>
                <a:srgbClr val="FFFFFF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2814638" y="50244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9A14FA3-3608-40AC-9D75-C00F2EC169A6}" type="datetime'3'''',''''''''''''''''''''''''0''''0''''''''''0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8275638" y="265271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34BEB6A-B456-4308-8980-22F3D2A79A05}" type="datetime'''''''1''''''''''''''''2''''''''''''.''''2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2.2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7704138" y="480695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E589205-5098-4C15-8526-FAFF8F56E572}" type="datetime'''''''9''''''0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</a:t>
            </a:fld>
            <a:endParaRPr lang="en-US" sz="800" b="1" dirty="0">
              <a:solidFill>
                <a:srgbClr val="FFFFFF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454400" y="29289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FA486CC-F712-4284-B155-EEC441808F5E}" type="datetime'''''1''''''''''''''''''''''''1''''''''''''''.''''''''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.0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3571875" y="480695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2E81970-A1C2-49BB-AE22-7A0BF37771CA}" type="datetime'''''''''''''''''''''''''''''9''''''0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</a:t>
            </a:fld>
            <a:endParaRPr lang="en-US" sz="800" b="1" dirty="0">
              <a:solidFill>
                <a:srgbClr val="FFFFFF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503613" y="522287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29CCBD9-7A0A-47DB-A42E-FAC61DC0CC26}" type="datetime'2'',''''''''''''''''''0''''''''''0''0''''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6911975" y="420846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44E9B2B-B8D5-4D99-BA82-D5EB521ADE73}" type="datetime'''''''''''''3'',''''''''''0''3''''''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,03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6223000" y="45926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C51A96E-8DB2-4E22-A888-EDEE9E2E203A}" type="datetime'''''''''''2'''''''''',''0''''''''''''''''''''''''''9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9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3524250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07023C5-829F-4805-B923-5672153B9755}" type="datetime'''''''''''''''2''''''''''''0''''''''''''''''''''''''2''2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2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5589588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CB955E8-DE78-4CAE-AF77-F687F501E968}" type="datetime'''''''''''''''''''''2''''''''''''''0''''''2''''5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5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4260850" y="4422775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71BE108-E62B-4112-ABF6-F8BA2E507225}" type="datetime'''''''''''''''3''''''''''''''''''''''''0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0</a:t>
            </a:fld>
            <a:endParaRPr lang="en-US" sz="800" b="1" dirty="0">
              <a:solidFill>
                <a:srgbClr val="FFFFFF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143375" y="29289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FF67029-E5E7-4231-84F3-CE649520EADA}" type="datetime'''''''''''''1''1''''''''''''''''''''''''''''.''''''''0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.0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192588" y="50244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8B77274-8775-4EB8-9DB9-59804BCECBD9}" type="datetime'3'''''''''''''''''''''''''',''''''''000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6208713" y="27908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0DEBE1-B8CB-4C28-A765-449E5AB37669}" type="datetime'''''''''''''''''''''1''''1''''''''''''''''''''.''6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.6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5568950" y="5018088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7D4E266-1B93-4C0B-B40D-1FC78C49E731}" type="datetime'3'''''''''''''''''',''''0''0''''''''''''''''''''''''''0'''''">
              <a:rPr lang="en-US" altLang="en-US" sz="8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4902200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9F3CCD4-3BA8-4FB5-BE23-76A7F9A3F63E}" type="datetime'''''''''''''2''''''''''''0''''2''4''''''''''''''''''''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4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949825" y="480695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6130A1C-A68A-4988-90C0-DF7BEB38C1B1}" type="datetime'''''''''''''''''''9''''''''''''''''''''''''0''''''''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</a:t>
            </a:fld>
            <a:endParaRPr lang="en-US" sz="800" b="1" dirty="0">
              <a:solidFill>
                <a:schemeClr val="bg1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4881563" y="522287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B769964-C22C-474F-A4CA-D5C2BC043354}" type="datetime'''''''''''''''''2,''0''''''''''''''''''00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519738" y="283686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F3359F2-DD5F-4AB1-8A07-9DEF6F8FB4EF}" type="datetime'''''''11''''''''''.''''''''4''''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.4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6278563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07C662A-8396-4AB6-BA4F-83118A3BE854}" type="datetime'''''2''''''''''''''''0''''''''''''''''2''''''''''''6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6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6257925" y="522287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3544C3C-899B-434C-A3C9-807BC92D606A}" type="datetime'''2'''''''''''''''''''''''''',''''''''''''''''''''''''00''0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5553076" y="4360863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984DDD5-9D43-45A5-AD24-B4683047EC4B}" type="datetime'''''''''''''''''''''''''''3''''''''''''''0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0</a:t>
            </a:fld>
            <a:r>
              <a:rPr lang="en-US" altLang="en-US" sz="800" b="1">
                <a:solidFill>
                  <a:srgbClr val="FFFFFF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/>
            </a:r>
            <a:br>
              <a:rPr lang="en-US" altLang="en-US" sz="800" b="1">
                <a:solidFill>
                  <a:srgbClr val="FFFFFF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</a:br>
            <a:r>
              <a:rPr lang="en-US" altLang="en-US" sz="800" b="1" smtClean="0">
                <a:solidFill>
                  <a:srgbClr val="FFFFFF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(</a:t>
            </a:r>
            <a:fld id="{5038B692-62DB-4E4C-8B5A-E0D8AF040447}" type="datetime'''''''''''''''''''''''1''''.''0''''''''''''%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.0%</a:t>
            </a:fld>
            <a:r>
              <a:rPr lang="en-US" altLang="en-US" sz="800" b="1" smtClean="0">
                <a:solidFill>
                  <a:srgbClr val="FFFFFF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)</a:t>
            </a:r>
            <a:endParaRPr lang="en-US" sz="800" b="1" dirty="0">
              <a:solidFill>
                <a:srgbClr val="FFFFFF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6326188" y="480695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50C5E6B-7F60-437F-B0AB-5E9D850A7EF1}" type="datetime'''''''''''''''''''''''9''0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</a:t>
            </a:fld>
            <a:endParaRPr lang="en-US" sz="800" b="1" dirty="0">
              <a:solidFill>
                <a:schemeClr val="bg1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6897688" y="27447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17DCA73-8C13-4BFD-953A-DCA3E5FFD96F}" type="datetime'''''''''''''''1''''''''''''''''''''1''''''''''.''8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.8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7015163" y="4422775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7553CBA-C23F-4F72-874B-67D5D63EEB74}" type="datetime'''''''''''''''''''''''''''''30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0</a:t>
            </a:fld>
            <a:endParaRPr lang="en-US" sz="800" b="1" dirty="0">
              <a:solidFill>
                <a:srgbClr val="FFFFFF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6946900" y="50244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9D4FEFC-F9AD-498C-8B6F-88F3A458F98D}" type="datetime'3'''''',0''''''''''''''''''''''''''''00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6967538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F36A238-F014-4DCD-B76E-992286F4F6AB}" type="datetime'''20''''''''''''''27''''''''''''''''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7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586663" y="269875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7A59F9F-F64C-4D11-BAC2-4EA9A8DAE295}" type="datetime'''''''''1''''2''''''''.''''''''0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2.0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4832350" y="288290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4FE3865-BF99-44F1-9A87-BA84D7678FC1}" type="datetime'''''11''''''''''''''''''''''''''''''''''''''''.2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.2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8393113" y="4422775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EA51701-5177-4EAF-B67E-A20AE02F7CFE}" type="datetime'''''''3''''''0''''''''''''''''''''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0</a:t>
            </a:fld>
            <a:endParaRPr lang="en-US" sz="800" b="1" dirty="0">
              <a:solidFill>
                <a:schemeClr val="bg1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8345488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4D98A82-F53A-48EC-94E3-8BB20E29B620}" type="datetime'''''''2''''''0''''''''''''''''''''''''''''''2''''9''''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9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8964613" y="260826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2FD1AF2-E8BE-4751-BCB0-73C104AD41A9}" type="datetime'''1''''''''2''''''''''''''''''''''''.''''4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2.4</a:t>
            </a:fld>
            <a:r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%</a:t>
            </a:r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8997951" y="4745038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A3F176D-9EBD-430C-8EA2-A3C40EB2EB75}" type="datetime'''9''0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</a:t>
            </a:fld>
            <a:r>
              <a:rPr lang="en-US" altLang="en-US" sz="800" b="1">
                <a:solidFill>
                  <a:srgbClr val="FFFFFF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/>
            </a:r>
            <a:br>
              <a:rPr lang="en-US" altLang="en-US" sz="800" b="1">
                <a:solidFill>
                  <a:srgbClr val="FFFFFF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</a:br>
            <a:r>
              <a:rPr lang="en-US" altLang="en-US" sz="800" b="1" smtClean="0">
                <a:solidFill>
                  <a:srgbClr val="FFFFFF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(</a:t>
            </a:r>
            <a:fld id="{F3113A36-3D23-43BB-8469-9371E3A9DAAA}" type="datetime'''''''''4''''.''''''''''''''''''''''3''%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3%</a:t>
            </a:fld>
            <a:r>
              <a:rPr lang="en-US" altLang="en-US" sz="800" b="1" smtClean="0">
                <a:solidFill>
                  <a:srgbClr val="FFFFFF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t>)</a:t>
            </a:r>
            <a:endParaRPr lang="en-US" sz="800" b="1" dirty="0">
              <a:solidFill>
                <a:srgbClr val="FFFFFF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9034463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A0427FB-3C8A-4011-B704-14A214B04D85}" type="datetime'''''''''''2''''''''''''0''''3''''''''''''''''0''''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30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1401763" y="4192588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3643A98-8FCF-4FD0-B685-E9E7DE8223BB}" type="datetime'''3'''',0''3''''''''''''''''0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,030</a:t>
            </a:fld>
            <a:endParaRPr lang="en-US" sz="1000" b="1" dirty="0"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7635875" y="522287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ED704BA-63A6-442F-B276-774F0BF57F5F}" type="datetime'''''''''''''''2'''''''''',''0''0''0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00</a:t>
            </a:fld>
            <a:endParaRPr lang="en-US" sz="8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2779713" y="420846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D28F2F5-F9A4-4E46-BEE7-97F3D16E93F4}" type="datetime'''''3'''''''''''''''''''''''''''',''''0''3''0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,03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4157663" y="420846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9A6303-6952-44D6-B450-C3CAD96B26BB}" type="datetime'''''''''''''''''''''''''''''''''''3'',0''''3''''''''''''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,03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4846638" y="45926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3BB2B12-ECFB-4FB7-94C8-062B4754FD34}" type="datetime'''''''2'''''''',''''''0''''''''''''9''''''''''''''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9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5534025" y="420846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252D0E0-DA7C-45AB-92A3-6EA4B1B72A46}" type="datetime'''3'''''',''''''''''''''''''''''''''''''''''''''''''0''3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,03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7600950" y="45926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01BE0A6-11A7-410E-AC29-83B90C3CCE70}" type="datetime'''''''''2,''''''''''''''0''''''9''''''''''''''''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9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8978900" y="45926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EC82142-874F-4068-B667-801B715C9F4C}" type="datetime'''''''2,''''0''''9''''''''''''''''''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,09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2090738" y="457676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53197ED-AFA6-470B-89B9-1CAE51EB90AA}" type="datetime'''''''''''''''2,''''''''''''0''''9''''''0''''''''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,090</a:t>
            </a:fld>
            <a:endParaRPr lang="en-US" sz="1000" b="1" dirty="0"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70" name="Rectangle 69"/>
          <p:cNvSpPr/>
          <p:nvPr>
            <p:custDataLst>
              <p:tags r:id="rId65"/>
            </p:custDataLst>
          </p:nvPr>
        </p:nvSpPr>
        <p:spPr bwMode="auto">
          <a:xfrm>
            <a:off x="477838" y="3714750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1" name="Rectangle 70"/>
          <p:cNvSpPr/>
          <p:nvPr>
            <p:custDataLst>
              <p:tags r:id="rId66"/>
            </p:custDataLst>
          </p:nvPr>
        </p:nvSpPr>
        <p:spPr bwMode="auto">
          <a:xfrm>
            <a:off x="477838" y="3887788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67"/>
            </p:custDataLst>
          </p:nvPr>
        </p:nvCxnSpPr>
        <p:spPr bwMode="auto">
          <a:xfrm>
            <a:off x="447675" y="35941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Oval 71"/>
          <p:cNvSpPr/>
          <p:nvPr>
            <p:custDataLst>
              <p:tags r:id="rId68"/>
            </p:custDataLst>
          </p:nvPr>
        </p:nvSpPr>
        <p:spPr bwMode="auto">
          <a:xfrm>
            <a:off x="493713" y="35687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671513" y="3883025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E829D29B-151D-41B2-B8AE-4EC31DDF71F4}" type="datetime'''''''''''I''''''''''C''''''''E''''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ICE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671513" y="3536950"/>
            <a:ext cx="2190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D4966FAF-D5A8-4B33-BE9B-741CCF618F5F}" type="datetime'M''''''''''''''''''''''''''''S''''''''''''''''''%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MS%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671513" y="37099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5C744EC7-2293-473F-97E3-06C8268B9D19}" type="datetime'''''''''''''N''''''''''''E''''''''V''''''''''''''''''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ea typeface="+mj-ea"/>
                <a:cs typeface="+mj-cs"/>
                <a:sym typeface="VWAG TheSans" panose="020B0502050302020203" pitchFamily="34" charset="0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</a:t>
            </a:fld>
            <a:endParaRPr lang="en-US" sz="8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9977645"/>
              </p:ext>
            </p:extLst>
          </p:nvPr>
        </p:nvGraphicFramePr>
        <p:xfrm>
          <a:off x="392113" y="5731459"/>
          <a:ext cx="9122228" cy="685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V</a:t>
                      </a:r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CE</a:t>
                      </a:r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93795" y="3018339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lang="en-US" sz="800" b="1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376958" y="1401494"/>
            <a:ext cx="9119467" cy="671318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4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4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4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08798" y="6419499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</a:t>
            </a:r>
            <a:r>
              <a:rPr lang="en-US" sz="800" dirty="0" smtClean="0">
                <a:latin typeface="+mj-lt"/>
              </a:rPr>
              <a:t>XXXX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13751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4832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630" name="think-cell Slide" r:id="rId48" imgW="470" imgH="469" progId="TCLayout.ActiveDocument.1">
                  <p:embed/>
                </p:oleObj>
              </mc:Choice>
              <mc:Fallback>
                <p:oleObj name="think-cell Slide" r:id="rId48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3366"/>
                </a:solidFill>
                <a:sym typeface="VWAG TheSans" panose="020B0502050302020203" pitchFamily="34" charset="0"/>
              </a:rPr>
              <a:t>Volkswagen </a:t>
            </a:r>
            <a:r>
              <a:rPr lang="en-US" dirty="0">
                <a:sym typeface="VWAG TheSans" panose="020B0502050302020203" pitchFamily="34" charset="0"/>
              </a:rPr>
              <a:t>Brand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 NEV </a:t>
            </a:r>
            <a:r>
              <a:rPr lang="en-US" dirty="0" smtClean="0">
                <a:sym typeface="VWAG TheSans" panose="020B0502050302020203" pitchFamily="34" charset="0"/>
              </a:rPr>
              <a:t>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>
                <a:sym typeface="VWAG TheSans" panose="020B0502050302020203" pitchFamily="34" charset="0"/>
              </a:rPr>
              <a:pPr/>
              <a:t>29</a:t>
            </a:fld>
            <a:endParaRPr lang="de-DE" noProof="0" dirty="0"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>
                <a:sym typeface="VWAG TheSans" panose="020B0502050302020203" pitchFamily="34" charset="0"/>
              </a:rPr>
              <a:t>Group Market and Sales Steering</a:t>
            </a:r>
            <a:endParaRPr lang="de-DE" noProof="0" dirty="0">
              <a:sym typeface="VWAG TheSans" panose="020B0502050302020203" pitchFamily="34" charset="0"/>
            </a:endParaRPr>
          </a:p>
        </p:txBody>
      </p:sp>
      <p:graphicFrame>
        <p:nvGraphicFramePr>
          <p:cNvPr id="96" name="Chart 9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66834022"/>
              </p:ext>
            </p:extLst>
          </p:nvPr>
        </p:nvGraphicFramePr>
        <p:xfrm>
          <a:off x="1143000" y="2249488"/>
          <a:ext cx="8435975" cy="326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48" name="Rectangle 4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795588" y="48053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FCFB222-7FC5-4EEA-BAD9-1F9F15931758}" type="datetime'''''3''''''''.''0''%''''''''''''''''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8" name="Rectangle 8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417638" y="504825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262CEFF-B134-4228-A5B3-D62379B8B3CA}" type="datetime'''1''''''''''''''''''''''''''''.''0''%'">
              <a:rPr lang="en-US" altLang="en-US" sz="1000" b="1" smtClean="0"/>
              <a:pPr algn="ctr">
                <a:spcAft>
                  <a:spcPct val="0"/>
                </a:spcAft>
              </a:pPr>
              <a:t>1.0%</a:t>
            </a:fld>
            <a:endParaRPr lang="en-US" sz="1000" b="1" dirty="0">
              <a:sym typeface="VWAG TheSans" panose="020B0502050302020203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486150" y="46767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CF985DA-E21D-4192-837C-8FF0CA6D1FC1}" type="datetime'''''''''''''4.''''''''''''''0''''''''''''''''''''%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42398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0DC555D-75C8-4075-B3A7-F155604256C4}" type="datetime'''''''''''''''''''''''''''''''''''2''019''''''''''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19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106613" y="4919663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FBAC47F-4787-457A-94A0-F9E99678A7BB}" type="datetime'''''''2''.0''''''''''''''''''''''''''''''''%'''''''''''">
              <a:rPr lang="en-US" altLang="en-US" sz="1000" b="1" smtClean="0"/>
              <a:pPr algn="ctr">
                <a:spcAft>
                  <a:spcPct val="0"/>
                </a:spcAft>
              </a:pPr>
              <a:t>2.0%</a:t>
            </a:fld>
            <a:endParaRPr lang="en-US" sz="1000" b="1" dirty="0"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2112963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972B52-CA4A-4771-8A8E-3170475E3563}" type="datetime'''2''''''''''''''''''''''''''''''0''''''''''2''0''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0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492500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6904E4-2E7D-42C3-96F3-22A0B69887BF}" type="datetime'''''''''''''''''''''''''''''''20''2''''''''2''''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2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80193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7792743-77A7-486E-A8C5-94B87944C873}" type="datetime'2''''''0''''''''''''''''''''''2''''''1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1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4175125" y="45481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DAAD6C-BB6A-42FB-8516-55BF6823C6C1}" type="datetime'''''''''''''5''''''''.''''0''''''''''''''''''''''''%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181475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8C146DF-0F40-456D-BC80-3A28707C0258}" type="datetime'''''''''2''''''''''''''''0''''''''2''''''''''''''3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3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864100" y="44196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D09475A-FA3E-4685-9034-C3EE271432E7}" type="datetime'''''''''''''''''''''''''''6''''.''''0''''''%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900588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77E817D-8C93-4FBA-ACE4-7EF979B8B551}" type="datetime'''''''''''''''''2''''''0''''''3''''''0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30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870450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923BA03-0CC9-44E0-A944-C394AB7620B7}" type="datetime'''''2''''''''''''''''''0''''''''2''''4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4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8275638" y="37734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06B7520-607F-449C-AE87-CF96932BF620}" type="datetime'''''1''''1''''''''''''''''''''.''0''''''''''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553075" y="428942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DC241C6-4BDE-4DF2-8EE7-AFF544829A9E}" type="datetime'''''''''''''''''''''''''''''''7''.''''0''''''''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6272213" y="50942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6D4415D-EB2D-406B-8268-FF27468AA5FD}" type="datetime'2''''''''''''''''''''''''''''0''''''''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559425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21C013D-A6F6-4E76-BBE0-9E3FAC926FFF}" type="datetime'2''''''''''''''''0''''''''25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5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8964613" y="3629025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B8CF5B6-A1A6-4794-81D4-727FC558DEBD}" type="datetime'1''''2''''''''''''''.''''''''''''''''''''0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2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248400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A753E98-D0D7-4DDD-9DBB-B6956B0B7AC3}" type="datetime'''''''''''''''''''2''''''02''''''''''6''''''''''''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6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931025" y="40322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C7EE632-B491-4683-95D5-431E0D550B11}" type="datetime'''9''''.''''0''''''''''%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937375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0DA44C2-1E8C-4C31-98EB-6F7A6F997253}" type="datetime'20''''''''''''''''''''''''''''2''''''''''''''''''''7''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7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3516313" y="50942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5CFAA43-57BE-4BA4-B4ED-2CA6B4703E35}" type="datetime'''''''''''''''''''2''''''''''0''''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586663" y="390366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FBA7B5D-C632-4C24-B49A-3D6CC2357CAD}" type="datetime'''1''''''0''''''.''''0''''''''''''''%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62793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BCEEE84-0EED-46DF-9ECC-E2A2CA44AD1D}" type="datetime'2''''''''''''''''''''''''''0''2''''''''''''''''''8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8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316913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E9C2172-B609-48DC-8E92-EBD21802F01A}" type="datetime'2''''''''''''''''0''''''''''''''''''''''2''''''9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9</a:t>
            </a:fld>
            <a:endParaRPr lang="en-US" sz="10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1357313" y="5226050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3FC6076-10D5-4ACA-81F5-89298B4A7748}" type="datetime'''''''''''''''''1''0'''''''''''''''''''''''''''''''''''''">
              <a:rPr lang="en-US" altLang="en-US" sz="1000" b="1" smtClean="0"/>
              <a:pPr algn="ctr">
                <a:spcAft>
                  <a:spcPct val="0"/>
                </a:spcAft>
              </a:pPr>
              <a:t>10</a:t>
            </a:fld>
            <a:endParaRPr lang="en-US" sz="1000" b="1" dirty="0">
              <a:sym typeface="VWAG TheSans" panose="020B0502050302020203" pitchFamily="34" charset="0"/>
            </a:endParaRPr>
          </a:p>
        </p:txBody>
      </p:sp>
      <p:sp useBgFill="1">
        <p:nvSpPr>
          <p:cNvPr id="67" name="Rectangle 66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1860550" y="5080000"/>
            <a:ext cx="244475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3B39326-A6E0-4B23-A877-ED900EF38BB7}" type="datetime'''20''''''''''''''''''''''''0'''''''''''''">
              <a:rPr lang="en-US" altLang="en-US" sz="1000" b="1" smtClean="0"/>
              <a:pPr algn="ctr">
                <a:spcAft>
                  <a:spcPct val="0"/>
                </a:spcAft>
              </a:pPr>
              <a:t>200</a:t>
            </a:fld>
            <a:endParaRPr lang="en-US" sz="1000" b="1" dirty="0"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860675" y="52419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02D6CDC-FAAA-43D8-8E16-1714FEEBDC16}" type="datetime'''''''1''''''''''''0''''''''''''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9029700" y="507841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072F04B-3024-4D73-8193-8EFA03135FB5}" type="datetime'''''''2''''''''''''''''''''''''''''''''0''0''''''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20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240213" y="52419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FED8139-04CC-465B-BFCB-7306F141E244}" type="datetime'''''''''''1''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894263" y="50942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BCCE9E0-FD0B-45F6-B8C4-24B0943760E5}" type="datetime'''''''''''''''''''''''''''2''''''''''00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5618163" y="52419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EE860A7-3B86-4620-9671-5930DF6275BC}" type="datetime'''''1''''''''''''''''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6996113" y="52419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9CC5E01-A0E3-49A0-A69F-EB2B197C0409}" type="datetime'''''1''''''''''''''''''''''''0''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7651750" y="50942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1B66516-2A38-4677-BAE8-54B59CE1ADBA}" type="datetime'''''''''''''2''''''''''''''0''''''''0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8375650" y="5226050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E379E34-74BE-4057-94DB-AB0C681A3D1D}" type="datetime'''''''''''''''''''''''''1''''0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0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242050" y="41608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002E73C-3166-499D-B995-A0E59B3AD3C6}" type="datetime'''''''''''8''''''''''.0''''''''''''''''''''''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.0%</a:t>
            </a:fld>
            <a:endParaRPr lang="en-US" sz="1000" b="1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41"/>
            </p:custDataLst>
          </p:nvPr>
        </p:nvCxnSpPr>
        <p:spPr bwMode="auto">
          <a:xfrm>
            <a:off x="590550" y="3400425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42"/>
            </p:custDataLst>
          </p:nvPr>
        </p:nvSpPr>
        <p:spPr bwMode="auto">
          <a:xfrm>
            <a:off x="620713" y="3521075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7" name="Oval 76"/>
          <p:cNvSpPr/>
          <p:nvPr>
            <p:custDataLst>
              <p:tags r:id="rId43"/>
            </p:custDataLst>
          </p:nvPr>
        </p:nvSpPr>
        <p:spPr bwMode="auto">
          <a:xfrm>
            <a:off x="636588" y="3375025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814388" y="3343275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826833CC-24F0-4E2A-86F8-F52BCDE66F3F}" type="datetime'N''''''E''''''''''''V'' ''''''''''''''''''''M''''''''''S%'''''">
              <a:rPr lang="en-US" altLang="en-US" sz="8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814388" y="3516313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sym typeface="VWAG TheSans" panose="020B0502050302020203" pitchFamily="34" charset="0"/>
              </a:rPr>
              <a:t>NEV</a:t>
            </a:r>
            <a:endParaRPr lang="en-US" sz="800" b="1" dirty="0">
              <a:solidFill>
                <a:srgbClr val="000000"/>
              </a:solidFill>
              <a:sym typeface="VWAG TheSans" panose="020B0502050302020203" pitchFamily="34" charset="0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7081642"/>
              </p:ext>
            </p:extLst>
          </p:nvPr>
        </p:nvGraphicFramePr>
        <p:xfrm>
          <a:off x="401445" y="5481889"/>
          <a:ext cx="9112675" cy="93625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504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QB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BU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464795" y="2971739"/>
            <a:ext cx="655984" cy="3112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lang="en-US" sz="800" b="1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14181" y="1571917"/>
            <a:ext cx="9099939" cy="674537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08798" y="6419499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</a:t>
            </a:r>
            <a:r>
              <a:rPr lang="en-US" sz="800" dirty="0" smtClean="0">
                <a:latin typeface="+mj-lt"/>
              </a:rPr>
              <a:t>XXXX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1536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3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olkswagen Group China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W Brand Passenger Car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0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Jetta Brand </a:t>
            </a: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32" name="Rectangle 4"/>
          <p:cNvSpPr>
            <a:spLocks noChangeArrowheads="1"/>
          </p:cNvSpPr>
          <p:nvPr/>
        </p:nvSpPr>
        <p:spPr bwMode="auto">
          <a:xfrm>
            <a:off x="1012175" y="4126056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 </a:t>
            </a:r>
            <a:r>
              <a:rPr lang="en-US" altLang="zh-CN" sz="1800" b="1" dirty="0" err="1">
                <a:solidFill>
                  <a:srgbClr val="FFFFFF"/>
                </a:solidFill>
                <a:latin typeface="VWAG TheSans"/>
                <a:sym typeface="VWAG TheSans"/>
              </a:rPr>
              <a:t>Cupra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 Brand </a:t>
            </a:r>
          </a:p>
        </p:txBody>
      </p:sp>
      <p:sp>
        <p:nvSpPr>
          <p:cNvPr id="33" name="Rectangle 4"/>
          <p:cNvSpPr>
            <a:spLocks noChangeArrowheads="1"/>
          </p:cNvSpPr>
          <p:nvPr/>
        </p:nvSpPr>
        <p:spPr bwMode="auto">
          <a:xfrm>
            <a:off x="411132" y="4126056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5</a:t>
            </a:r>
          </a:p>
        </p:txBody>
      </p:sp>
      <p:sp>
        <p:nvSpPr>
          <p:cNvPr id="34" name="Rectangle 4"/>
          <p:cNvSpPr>
            <a:spLocks noChangeArrowheads="1"/>
          </p:cNvSpPr>
          <p:nvPr/>
        </p:nvSpPr>
        <p:spPr bwMode="auto">
          <a:xfrm>
            <a:off x="1012175" y="4717894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Audi Brand</a:t>
            </a:r>
          </a:p>
        </p:txBody>
      </p: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411132" y="4717894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6</a:t>
            </a:r>
          </a:p>
        </p:txBody>
      </p:sp>
      <p:sp>
        <p:nvSpPr>
          <p:cNvPr id="36" name="Rectangle 4"/>
          <p:cNvSpPr>
            <a:spLocks noChangeArrowheads="1"/>
          </p:cNvSpPr>
          <p:nvPr/>
        </p:nvSpPr>
        <p:spPr bwMode="auto">
          <a:xfrm>
            <a:off x="1012175" y="530973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Skoda Brand</a:t>
            </a: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auto">
          <a:xfrm>
            <a:off x="411132" y="530973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381561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678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852" name="think-cell Slide" r:id="rId33" imgW="470" imgH="469" progId="TCLayout.ActiveDocument.1">
                  <p:embed/>
                </p:oleObj>
              </mc:Choice>
              <mc:Fallback>
                <p:oleObj name="think-cell Slide" r:id="rId33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2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lkswagen Brand (CKD &amp; FBU) PR69.OP </a:t>
            </a:r>
            <a:r>
              <a:rPr lang="en-US" dirty="0" smtClean="0"/>
              <a:t>vs. PR69.SP</a:t>
            </a:r>
            <a:r>
              <a:rPr lang="en-US" dirty="0" smtClean="0">
                <a:sym typeface="VWAG TheSans"/>
              </a:rPr>
              <a:t> </a:t>
            </a:r>
            <a:r>
              <a:rPr lang="en-US" dirty="0">
                <a:sym typeface="VWAG TheSans"/>
              </a:rPr>
              <a:t>- Acc. </a:t>
            </a:r>
            <a:r>
              <a:rPr lang="en-US" dirty="0" smtClean="0">
                <a:sym typeface="VWAG TheSans"/>
              </a:rPr>
              <a:t>Volumes (2020-2030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536700" y="2559050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009900" y="3124200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>
            <a:off x="4481513" y="2417763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auto">
          <a:xfrm>
            <a:off x="5953125" y="2559050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426325" y="21351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4" name="Chart 5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02920059"/>
              </p:ext>
            </p:extLst>
          </p:nvPr>
        </p:nvGraphicFramePr>
        <p:xfrm>
          <a:off x="309563" y="2052638"/>
          <a:ext cx="8997950" cy="291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 useBgFill="1">
        <p:nvSpPr>
          <p:cNvPr id="12" name="Freeform 11"/>
          <p:cNvSpPr/>
          <p:nvPr>
            <p:custDataLst>
              <p:tags r:id="rId10"/>
            </p:custDataLst>
          </p:nvPr>
        </p:nvSpPr>
        <p:spPr bwMode="auto">
          <a:xfrm>
            <a:off x="673100" y="3852863"/>
            <a:ext cx="909639" cy="301626"/>
          </a:xfrm>
          <a:custGeom>
            <a:avLst/>
            <a:gdLst/>
            <a:ahLst/>
            <a:cxnLst/>
            <a:rect l="0" t="0" r="0" b="0"/>
            <a:pathLst>
              <a:path w="909639" h="301626">
                <a:moveTo>
                  <a:pt x="0" y="244475"/>
                </a:moveTo>
                <a:lnTo>
                  <a:pt x="909638" y="0"/>
                </a:lnTo>
                <a:lnTo>
                  <a:pt x="909638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5" name="Freeform 14"/>
          <p:cNvSpPr/>
          <p:nvPr>
            <p:custDataLst>
              <p:tags r:id="rId11"/>
            </p:custDataLst>
          </p:nvPr>
        </p:nvSpPr>
        <p:spPr bwMode="auto">
          <a:xfrm>
            <a:off x="8034338" y="3852863"/>
            <a:ext cx="909638" cy="301626"/>
          </a:xfrm>
          <a:custGeom>
            <a:avLst/>
            <a:gdLst/>
            <a:ahLst/>
            <a:cxnLst/>
            <a:rect l="0" t="0" r="0" b="0"/>
            <a:pathLst>
              <a:path w="909638" h="301626">
                <a:moveTo>
                  <a:pt x="0" y="244475"/>
                </a:moveTo>
                <a:lnTo>
                  <a:pt x="909637" y="0"/>
                </a:lnTo>
                <a:lnTo>
                  <a:pt x="909637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2"/>
            </p:custDataLst>
          </p:nvPr>
        </p:nvSpPr>
        <p:spPr bwMode="auto">
          <a:xfrm>
            <a:off x="8034338" y="3910013"/>
            <a:ext cx="909638" cy="244476"/>
          </a:xfrm>
          <a:custGeom>
            <a:avLst/>
            <a:gdLst/>
            <a:ahLst/>
            <a:cxnLst/>
            <a:rect l="0" t="0" r="0" b="0"/>
            <a:pathLst>
              <a:path w="909638" h="244476">
                <a:moveTo>
                  <a:pt x="0" y="244475"/>
                </a:moveTo>
                <a:lnTo>
                  <a:pt x="9096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3"/>
            </p:custDataLst>
          </p:nvPr>
        </p:nvSpPr>
        <p:spPr bwMode="auto">
          <a:xfrm>
            <a:off x="673100" y="3852863"/>
            <a:ext cx="909639" cy="244476"/>
          </a:xfrm>
          <a:custGeom>
            <a:avLst/>
            <a:gdLst/>
            <a:ahLst/>
            <a:cxnLst/>
            <a:rect l="0" t="0" r="0" b="0"/>
            <a:pathLst>
              <a:path w="909639" h="244476">
                <a:moveTo>
                  <a:pt x="0" y="244475"/>
                </a:moveTo>
                <a:lnTo>
                  <a:pt x="9096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4"/>
            </p:custDataLst>
          </p:nvPr>
        </p:nvSpPr>
        <p:spPr bwMode="auto">
          <a:xfrm>
            <a:off x="673100" y="3910013"/>
            <a:ext cx="909639" cy="244476"/>
          </a:xfrm>
          <a:custGeom>
            <a:avLst/>
            <a:gdLst/>
            <a:ahLst/>
            <a:cxnLst/>
            <a:rect l="0" t="0" r="0" b="0"/>
            <a:pathLst>
              <a:path w="909639" h="244476">
                <a:moveTo>
                  <a:pt x="0" y="244475"/>
                </a:moveTo>
                <a:lnTo>
                  <a:pt x="9096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5"/>
            </p:custDataLst>
          </p:nvPr>
        </p:nvSpPr>
        <p:spPr bwMode="auto">
          <a:xfrm>
            <a:off x="8034338" y="3852863"/>
            <a:ext cx="909638" cy="244476"/>
          </a:xfrm>
          <a:custGeom>
            <a:avLst/>
            <a:gdLst/>
            <a:ahLst/>
            <a:cxnLst/>
            <a:rect l="0" t="0" r="0" b="0"/>
            <a:pathLst>
              <a:path w="909638" h="244476">
                <a:moveTo>
                  <a:pt x="0" y="244475"/>
                </a:moveTo>
                <a:lnTo>
                  <a:pt x="9096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9" name="Straight Connector 18"/>
          <p:cNvCxnSpPr/>
          <p:nvPr>
            <p:custDataLst>
              <p:tags r:id="rId16"/>
            </p:custDataLst>
          </p:nvPr>
        </p:nvCxnSpPr>
        <p:spPr bwMode="auto">
          <a:xfrm>
            <a:off x="1127125" y="1717675"/>
            <a:ext cx="73612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17"/>
            </p:custDataLst>
          </p:nvPr>
        </p:nvCxnSpPr>
        <p:spPr bwMode="auto">
          <a:xfrm flipV="1">
            <a:off x="1127125" y="1717676"/>
            <a:ext cx="0" cy="576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8"/>
            </p:custDataLst>
          </p:nvPr>
        </p:nvCxnSpPr>
        <p:spPr bwMode="auto">
          <a:xfrm>
            <a:off x="8488363" y="1717675"/>
            <a:ext cx="0" cy="1524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tangle 91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389188" y="267335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B3415CC-9146-481A-B3A1-913F36CF94B5}" type="datetime'''''''''''''''''-''''''''''''4''''''0'''''''''''''''''''">
              <a:rPr lang="en-US" altLang="en-US" sz="1000" b="1" smtClean="0">
                <a:solidFill>
                  <a:schemeClr val="bg1"/>
                </a:solidFill>
              </a:rPr>
              <a:pPr lvl="0" algn="ctr">
                <a:spcAft>
                  <a:spcPct val="0"/>
                </a:spcAft>
                <a:defRPr/>
              </a:pPr>
              <a:t>-40</a:t>
            </a:fld>
            <a:endParaRPr lang="en-US" altLang="en-US" sz="1000" b="1" dirty="0" smtClean="0">
              <a:solidFill>
                <a:schemeClr val="bg1"/>
              </a:solidFill>
              <a:latin typeface="+mn-lt"/>
              <a:sym typeface="+mn-lt"/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strike="noStrike" kern="120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sym typeface="+mn-lt"/>
              </a:rPr>
              <a:t>(-1.3%)</a:t>
            </a:r>
            <a:endParaRPr kumimoji="0" lang="en-US" altLang="en-US" sz="1000" b="1" strike="noStrike" kern="1200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69925" y="4926013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2062164" y="4926013"/>
            <a:ext cx="10763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0EBE95D-03E3-4B7D-A245-A40EF7D22D34}" type="datetime'''''''To''''tal'''''''''' M''ar''k''''et E''''''ffe''c''t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084763" y="4926013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846513" y="2601913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C77B8D2-552F-4F27-8745-676A5D98B921}" type="datetime'''''''''''''5''''''''''''''''''''''''''''''''''''''''''''0'">
              <a:rPr lang="en-US" altLang="en-US" sz="1000" b="1" smtClean="0"/>
              <a:pPr lvl="0" algn="ctr">
                <a:spcAft>
                  <a:spcPct val="0"/>
                </a:spcAft>
                <a:defRPr/>
              </a:pPr>
              <a:t>50</a:t>
            </a:fld>
            <a:endParaRPr lang="en-US" altLang="en-US" sz="1000" b="1" dirty="0" smtClean="0"/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strike="noStrike" kern="1200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sym typeface="+mn-lt"/>
              </a:rPr>
              <a:t>(+3.4%)</a:t>
            </a:r>
            <a:endParaRPr kumimoji="0" lang="en-US" altLang="en-US" sz="1000" b="1" strike="noStrike" kern="1200" spc="0" normalizeH="0" noProof="0" dirty="0">
              <a:ln>
                <a:noFill/>
              </a:ln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676650" y="4926013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332413" y="231933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7D4702B-76FE-4F15-AFE6-8F2DFC7BE44F}" type="datetime'-''''''''''1''0'''''''''''''''''''''''''''''''''''''''''">
              <a:rPr lang="en-US" altLang="en-US" sz="1000" b="1" smtClean="0">
                <a:solidFill>
                  <a:schemeClr val="bg1"/>
                </a:solidFill>
              </a:rPr>
              <a:pPr lvl="0" algn="ctr">
                <a:spcAft>
                  <a:spcPct val="0"/>
                </a:spcAft>
                <a:defRPr/>
              </a:pPr>
              <a:t>-10</a:t>
            </a:fld>
            <a:endParaRPr lang="en-US" altLang="en-US" sz="1000" b="1" dirty="0" smtClean="0">
              <a:solidFill>
                <a:schemeClr val="bg1"/>
              </a:solidFill>
              <a:latin typeface="+mn-lt"/>
              <a:sym typeface="+mn-lt"/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strike="noStrike" kern="120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sym typeface="+mn-lt"/>
              </a:rPr>
              <a:t>(-2.9%)</a:t>
            </a:r>
            <a:endParaRPr kumimoji="0" lang="en-US" altLang="en-US" sz="1000" b="1" strike="noStrike" kern="1200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791325" y="2178050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DA6DEBD-4E62-4641-BD62-887BEE1068BD}" type="datetime'''3''''''0'''''">
              <a:rPr lang="en-US" altLang="en-US" sz="1000" b="1" smtClean="0"/>
              <a:pPr lvl="0" algn="ctr">
                <a:spcAft>
                  <a:spcPct val="0"/>
                </a:spcAft>
                <a:defRPr/>
              </a:pPr>
              <a:t>30</a:t>
            </a:fld>
            <a:endParaRPr lang="en-US" altLang="en-US" sz="1000" b="1" dirty="0" smtClean="0"/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strike="noStrike" kern="1200" spc="0" normalizeH="0" noProof="0" dirty="0" smtClean="0">
                <a:ln>
                  <a:noFill/>
                </a:ln>
                <a:effectLst/>
                <a:uLnTx/>
                <a:uFillTx/>
                <a:latin typeface="VWAG TheSans"/>
                <a:sym typeface="+mj-lt"/>
              </a:rPr>
              <a:t>(+1.0%)</a:t>
            </a:r>
            <a:endParaRPr kumimoji="0" lang="en-US" altLang="en-US" sz="1000" b="1" i="0" strike="noStrike" kern="1200" spc="0" normalizeH="0" noProof="0" dirty="0">
              <a:ln>
                <a:noFill/>
              </a:ln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657975" y="4926013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231188" y="492601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917575" y="2332038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5634ED1-53BF-4AF5-875B-DE8C18F5693D}" type="datetime'''''''''''2'''''''',''''''00''''0''''''''''''''''''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278813" y="1908175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F0D4305-F8B9-4B60-9CF0-16E3899AB1EB}" type="datetime'2'''',''''''''0''''''''''''''''''3''''''0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03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452939" y="1431925"/>
            <a:ext cx="708025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6AA4D7E-5759-43E7-B53C-938D9E1FAAF7}" type="datetime'+''3''''''''''''''''''''''''''''''''''''''''''0'''''''''">
              <a:rPr lang="en-US" altLang="en-US" sz="1200" b="1" smtClean="0">
                <a:solidFill>
                  <a:srgbClr val="007770"/>
                </a:solidFill>
              </a:rPr>
              <a:pPr lvl="0" algn="ctr">
                <a:spcAft>
                  <a:spcPct val="0"/>
                </a:spcAft>
                <a:defRPr/>
              </a:pPr>
              <a:t>+3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  <a:t>(</a:t>
            </a:r>
            <a:fld id="{88F8604E-0CAA-4A78-8E5F-535FB5FC4C5F}" type="datetime'''''+''''1''''''''''''''''''.''''5''''''''''''''%'''''''''">
              <a:rPr lang="en-US" altLang="en-US" sz="1200" b="1" smtClean="0">
                <a:solidFill>
                  <a:srgbClr val="007770"/>
                </a:solidFill>
              </a:rPr>
              <a:pPr lvl="0" algn="ctr">
                <a:spcAft>
                  <a:spcPct val="0"/>
                </a:spcAft>
                <a:defRPr/>
              </a:pPr>
              <a:t>+1.5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777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3306650"/>
              </p:ext>
            </p:extLst>
          </p:nvPr>
        </p:nvGraphicFramePr>
        <p:xfrm>
          <a:off x="392118" y="5182251"/>
          <a:ext cx="8833104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4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4448942"/>
              </p:ext>
            </p:extLst>
          </p:nvPr>
        </p:nvGraphicFramePr>
        <p:xfrm>
          <a:off x="3429000" y="3197167"/>
          <a:ext cx="1235464" cy="492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9106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86358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64148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New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Proj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340462"/>
                  </a:ext>
                </a:extLst>
              </a:tr>
              <a:tr h="16414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A Entry NB/C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049657"/>
                  </a:ext>
                </a:extLst>
              </a:tr>
              <a:tr h="16414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A0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</a:t>
                      </a:r>
                      <a:r>
                        <a:rPr lang="en-US" altLang="zh-CN" sz="8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UVe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/C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18808"/>
                  </a:ext>
                </a:extLst>
              </a:tr>
            </a:tbl>
          </a:graphicData>
        </a:graphic>
      </p:graphicFrame>
      <p:graphicFrame>
        <p:nvGraphicFramePr>
          <p:cNvPr id="51" name="Tab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212240"/>
              </p:ext>
            </p:extLst>
          </p:nvPr>
        </p:nvGraphicFramePr>
        <p:xfrm>
          <a:off x="1979873" y="3197167"/>
          <a:ext cx="1214851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408798" y="6419499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0418432"/>
              </p:ext>
            </p:extLst>
          </p:nvPr>
        </p:nvGraphicFramePr>
        <p:xfrm>
          <a:off x="4853940" y="3197167"/>
          <a:ext cx="1417320" cy="1214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1903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6541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61097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OP Delay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FAW-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AIC 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JAC 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8898100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EOP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Pull Ahead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1273247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FAW-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3778715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AIC 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5944363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EOP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Extension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659190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AIC VW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13076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9579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65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VWAG TheSans" panose="020B0502050302020203" pitchFamily="34" charset="0"/>
              </a:rPr>
              <a:t>Volkswagen Brand </a:t>
            </a:r>
            <a:r>
              <a:rPr lang="en-US" dirty="0" smtClean="0">
                <a:sym typeface="VWAG TheSans" panose="020B0502050302020203" pitchFamily="34" charset="0"/>
              </a:rPr>
              <a:t>(CKD &amp; FBU) Volume PR69.OP vs. PR69.SP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>
                <a:sym typeface="VWAG TheSans" panose="020B0502050302020203" pitchFamily="34" charset="0"/>
              </a:rPr>
              <a:pPr/>
              <a:t>31</a:t>
            </a:fld>
            <a:endParaRPr lang="de-DE" noProof="0" dirty="0"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>
                <a:sym typeface="VWAG TheSans" panose="020B0502050302020203" pitchFamily="34" charset="0"/>
              </a:rPr>
              <a:t>Group Market and Sales Steering</a:t>
            </a:r>
            <a:endParaRPr lang="de-DE" noProof="0" dirty="0">
              <a:sym typeface="VWAG TheSans" panose="020B0502050302020203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5509605"/>
              </p:ext>
            </p:extLst>
          </p:nvPr>
        </p:nvGraphicFramePr>
        <p:xfrm>
          <a:off x="588401" y="5037048"/>
          <a:ext cx="7951131" cy="13888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10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33648">
                  <a:extLst>
                    <a:ext uri="{9D8B030D-6E8A-4147-A177-3AD203B41FA5}">
                      <a16:colId xmlns:a16="http://schemas.microsoft.com/office/drawing/2014/main" val="188650236"/>
                    </a:ext>
                  </a:extLst>
                </a:gridCol>
              </a:tblGrid>
              <a:tr h="294278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Delta(</a:t>
                      </a:r>
                      <a:r>
                        <a:rPr lang="en-US" sz="900" b="1" i="0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t</a:t>
                      </a:r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0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AW-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70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AIC 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7059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JAC-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022407"/>
                  </a:ext>
                </a:extLst>
              </a:tr>
              <a:tr h="2170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BU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18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VW 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Brand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Tota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154671332"/>
              </p:ext>
            </p:extLst>
          </p:nvPr>
        </p:nvGraphicFramePr>
        <p:xfrm>
          <a:off x="1614275" y="2337683"/>
          <a:ext cx="7456714" cy="2890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25668" y="3761528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lang="en-US" sz="800" b="1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76958" y="1345684"/>
            <a:ext cx="9082244" cy="9334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indent="-228600"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80105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707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0565" name="think-cell Slide" r:id="rId33" imgW="470" imgH="469" progId="TCLayout.ActiveDocument.1">
                  <p:embed/>
                </p:oleObj>
              </mc:Choice>
              <mc:Fallback>
                <p:oleObj name="think-cell Slide" r:id="rId33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2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lkswagen Brand (CKD &amp; FBU) </a:t>
            </a:r>
            <a:r>
              <a:rPr lang="de-DE" dirty="0" smtClean="0">
                <a:solidFill>
                  <a:srgbClr val="003366"/>
                </a:solidFill>
              </a:rPr>
              <a:t>NEV</a:t>
            </a:r>
            <a:r>
              <a:rPr lang="en-US" dirty="0" smtClean="0"/>
              <a:t> PR69.OP vs. PR69.SP</a:t>
            </a:r>
            <a:r>
              <a:rPr lang="en-US" dirty="0" smtClean="0">
                <a:sym typeface="VWAG TheSans"/>
              </a:rPr>
              <a:t> </a:t>
            </a:r>
            <a:r>
              <a:rPr lang="en-US" dirty="0">
                <a:sym typeface="VWAG TheSans"/>
              </a:rPr>
              <a:t>- Acc. </a:t>
            </a:r>
            <a:r>
              <a:rPr lang="en-US" dirty="0" smtClean="0">
                <a:sym typeface="VWAG TheSans"/>
              </a:rPr>
              <a:t>Volumes (2020-2030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493837" y="23399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025774" y="3076575"/>
            <a:ext cx="6810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>
            <a:off x="4559299" y="27082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auto">
          <a:xfrm>
            <a:off x="6091237" y="30765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623174" y="2830513"/>
            <a:ext cx="6810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3" name="Chart 52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87729457"/>
              </p:ext>
            </p:extLst>
          </p:nvPr>
        </p:nvGraphicFramePr>
        <p:xfrm>
          <a:off x="219075" y="2257425"/>
          <a:ext cx="9359900" cy="263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 useBgFill="1">
        <p:nvSpPr>
          <p:cNvPr id="12" name="Freeform 11"/>
          <p:cNvSpPr/>
          <p:nvPr>
            <p:custDataLst>
              <p:tags r:id="rId10"/>
            </p:custDataLst>
          </p:nvPr>
        </p:nvSpPr>
        <p:spPr bwMode="auto">
          <a:xfrm>
            <a:off x="600075" y="3789363"/>
            <a:ext cx="935039" cy="309563"/>
          </a:xfrm>
          <a:custGeom>
            <a:avLst/>
            <a:gdLst/>
            <a:ahLst/>
            <a:cxnLst/>
            <a:rect l="0" t="0" r="0" b="0"/>
            <a:pathLst>
              <a:path w="935039" h="309563">
                <a:moveTo>
                  <a:pt x="0" y="252412"/>
                </a:moveTo>
                <a:lnTo>
                  <a:pt x="935038" y="0"/>
                </a:lnTo>
                <a:lnTo>
                  <a:pt x="935038" y="57150"/>
                </a:lnTo>
                <a:lnTo>
                  <a:pt x="0" y="3095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5" name="Freeform 14"/>
          <p:cNvSpPr/>
          <p:nvPr>
            <p:custDataLst>
              <p:tags r:id="rId11"/>
            </p:custDataLst>
          </p:nvPr>
        </p:nvSpPr>
        <p:spPr bwMode="auto">
          <a:xfrm>
            <a:off x="8262938" y="3789363"/>
            <a:ext cx="935038" cy="309563"/>
          </a:xfrm>
          <a:custGeom>
            <a:avLst/>
            <a:gdLst/>
            <a:ahLst/>
            <a:cxnLst/>
            <a:rect l="0" t="0" r="0" b="0"/>
            <a:pathLst>
              <a:path w="935038" h="309563">
                <a:moveTo>
                  <a:pt x="0" y="252412"/>
                </a:moveTo>
                <a:lnTo>
                  <a:pt x="935037" y="0"/>
                </a:lnTo>
                <a:lnTo>
                  <a:pt x="935037" y="57150"/>
                </a:lnTo>
                <a:lnTo>
                  <a:pt x="0" y="3095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2"/>
            </p:custDataLst>
          </p:nvPr>
        </p:nvSpPr>
        <p:spPr bwMode="auto">
          <a:xfrm>
            <a:off x="600075" y="3789363"/>
            <a:ext cx="935039" cy="252413"/>
          </a:xfrm>
          <a:custGeom>
            <a:avLst/>
            <a:gdLst/>
            <a:ahLst/>
            <a:cxnLst/>
            <a:rect l="0" t="0" r="0" b="0"/>
            <a:pathLst>
              <a:path w="935039" h="252413">
                <a:moveTo>
                  <a:pt x="0" y="252412"/>
                </a:moveTo>
                <a:lnTo>
                  <a:pt x="9350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3"/>
            </p:custDataLst>
          </p:nvPr>
        </p:nvSpPr>
        <p:spPr bwMode="auto">
          <a:xfrm>
            <a:off x="600075" y="3846513"/>
            <a:ext cx="935039" cy="252413"/>
          </a:xfrm>
          <a:custGeom>
            <a:avLst/>
            <a:gdLst/>
            <a:ahLst/>
            <a:cxnLst/>
            <a:rect l="0" t="0" r="0" b="0"/>
            <a:pathLst>
              <a:path w="935039" h="252413">
                <a:moveTo>
                  <a:pt x="0" y="252412"/>
                </a:moveTo>
                <a:lnTo>
                  <a:pt x="9350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4"/>
            </p:custDataLst>
          </p:nvPr>
        </p:nvSpPr>
        <p:spPr bwMode="auto">
          <a:xfrm>
            <a:off x="8262938" y="3789363"/>
            <a:ext cx="935038" cy="252413"/>
          </a:xfrm>
          <a:custGeom>
            <a:avLst/>
            <a:gdLst/>
            <a:ahLst/>
            <a:cxnLst/>
            <a:rect l="0" t="0" r="0" b="0"/>
            <a:pathLst>
              <a:path w="935038" h="252413">
                <a:moveTo>
                  <a:pt x="0" y="252412"/>
                </a:moveTo>
                <a:lnTo>
                  <a:pt x="9350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5"/>
            </p:custDataLst>
          </p:nvPr>
        </p:nvSpPr>
        <p:spPr bwMode="auto">
          <a:xfrm>
            <a:off x="8262938" y="3846513"/>
            <a:ext cx="935038" cy="252413"/>
          </a:xfrm>
          <a:custGeom>
            <a:avLst/>
            <a:gdLst/>
            <a:ahLst/>
            <a:cxnLst/>
            <a:rect l="0" t="0" r="0" b="0"/>
            <a:pathLst>
              <a:path w="935038" h="252413">
                <a:moveTo>
                  <a:pt x="0" y="252412"/>
                </a:moveTo>
                <a:lnTo>
                  <a:pt x="9350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9" name="Straight Connector 18"/>
          <p:cNvCxnSpPr/>
          <p:nvPr>
            <p:custDataLst>
              <p:tags r:id="rId16"/>
            </p:custDataLst>
          </p:nvPr>
        </p:nvCxnSpPr>
        <p:spPr bwMode="auto">
          <a:xfrm>
            <a:off x="1066800" y="2016125"/>
            <a:ext cx="766286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17"/>
            </p:custDataLst>
          </p:nvPr>
        </p:nvCxnSpPr>
        <p:spPr bwMode="auto">
          <a:xfrm flipV="1">
            <a:off x="1066800" y="20161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8"/>
            </p:custDataLst>
          </p:nvPr>
        </p:nvCxnSpPr>
        <p:spPr bwMode="auto">
          <a:xfrm>
            <a:off x="8729663" y="2016125"/>
            <a:ext cx="0" cy="5667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Rectangle 3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539163" y="2620963"/>
            <a:ext cx="38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EFCE2DE-4D84-4695-BDDF-1384649FEF81}" type="datetime'''4'''''',''''6''''0''''''''''''''''''''''''''''''''''0''''''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4,60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365375" y="2524125"/>
            <a:ext cx="468313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2B5017B-A220-4EE9-A3A1-BD95F95AC632}" type="datetime'''''''''''''''''''''''-''''''''''''''''''''6''00'''''''''">
              <a:rPr lang="en-US" altLang="en-US" sz="11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600</a:t>
            </a:fld>
            <a:endParaRPr lang="en-US" altLang="en-US" sz="1100" b="1" dirty="0" smtClean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  <a:p>
            <a:pPr algn="ctr">
              <a:spcAft>
                <a:spcPct val="0"/>
              </a:spcAft>
            </a:pPr>
            <a:r>
              <a:rPr lang="en-US" sz="11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6.7%)</a:t>
            </a: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6946900" y="2768600"/>
            <a:ext cx="498475" cy="36830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7614E73-E76E-480C-9503-A34ECEF8B4AA}" type="datetime'''''''''''2''''''''''''''''0''''''0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0</a:t>
            </a:fld>
            <a:endParaRPr lang="en-US" altLang="en-US" sz="1100" b="1" dirty="0" smtClean="0"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100" b="1" noProof="0" dirty="0" smtClean="0">
                <a:latin typeface="+mj-lt"/>
                <a:ea typeface="+mj-ea"/>
                <a:cs typeface="+mj-cs"/>
                <a:sym typeface="+mj-lt"/>
              </a:rPr>
              <a:t>(+2.1%)</a:t>
            </a: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98513" y="4856163"/>
            <a:ext cx="538163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D6BEA06-2D5D-4D50-9EFE-F867C0A2E151}" type="datetime' ''''PR''69.''''SP''''''''&#10;O''''ffi''''''''c''ia''''''''l'">
              <a:rPr lang="en-US" altLang="en-US" sz="11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 PR69.SP
Official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5159374" y="4856162"/>
            <a:ext cx="10112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2033588" y="4856162"/>
            <a:ext cx="11303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B7E8E5-4D7B-479C-9142-72FA96B59B07}" type="datetime'''N''''E''''''''V Ma''r''''''ke''''t ''Ef''''''''''fect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 Market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883025" y="2708275"/>
            <a:ext cx="498475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5C6E57B-11CC-4D17-BB35-88D42AC240EC}" type="datetime'''''''''''''3''''0''''''''''''''''''''''''''''0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0</a:t>
            </a:fld>
            <a:endParaRPr lang="en-US" altLang="en-US" sz="1100" b="1" dirty="0" smtClean="0"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100" b="1" noProof="0" dirty="0" smtClean="0">
                <a:latin typeface="+mj-lt"/>
                <a:ea typeface="+mj-ea"/>
                <a:cs typeface="+mj-cs"/>
                <a:sym typeface="+mj-lt"/>
              </a:rPr>
              <a:t>(+4.0%)</a:t>
            </a: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697287" y="4856162"/>
            <a:ext cx="8715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430838" y="2708275"/>
            <a:ext cx="468313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F743AEA-848B-4C8E-9648-2DB73D4CDB87}" type="datetime'''''''''''''-''''''''3''''''''''00'''''''''''''''''''''''''">
              <a:rPr lang="en-US" altLang="en-US" sz="11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300</a:t>
            </a:fld>
            <a:endParaRPr lang="en-US" altLang="en-US" sz="11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1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3.5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800850" y="4856162"/>
            <a:ext cx="7905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445500" y="4856162"/>
            <a:ext cx="5683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2FECE73-7ACC-4ABE-A86E-40344858FCF3}" type="datetime' ''''P''''''''R''''''''6''''''''''''9''''.O''P'''''''''">
              <a:rPr lang="en-US" altLang="en-US" sz="11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76300" y="2130425"/>
            <a:ext cx="38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E848235-5B82-4C30-8F08-AD3AA39FAA73}" type="datetime'''''''''''''''''''5'''''''''''''',''00''0''''''''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5,00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567238" y="1730375"/>
            <a:ext cx="660400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339E4A6-59B2-4E86-8F2B-E506F8F7F53D}" type="datetime'''-''''''''''''''''''''''''''''4''''''0''''''''''0'''">
              <a:rPr lang="en-US" altLang="en-US" sz="1200" b="1" smtClean="0">
                <a:solidFill>
                  <a:srgbClr val="C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-40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(</a:t>
            </a:r>
            <a:fld id="{6C856F81-5D12-45A0-8BB8-E0629C1D1AD1}" type="datetime'-''''8.''0''''%'''''''''''''''''''''''''''''''''''''''">
              <a:rPr lang="en-US" altLang="en-US" sz="1200" b="1" smtClean="0">
                <a:solidFill>
                  <a:srgbClr val="C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-8.0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276995" y="1796005"/>
            <a:ext cx="655984" cy="3016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2094704"/>
              </p:ext>
            </p:extLst>
          </p:nvPr>
        </p:nvGraphicFramePr>
        <p:xfrm>
          <a:off x="300849" y="5248598"/>
          <a:ext cx="9195571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191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3094053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6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40" name="Table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7793222"/>
              </p:ext>
            </p:extLst>
          </p:nvPr>
        </p:nvGraphicFramePr>
        <p:xfrm>
          <a:off x="5126800" y="3268250"/>
          <a:ext cx="1160985" cy="601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1657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299328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4973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OP Delay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4973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FAW-VW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4810003"/>
                  </a:ext>
                </a:extLst>
              </a:tr>
              <a:tr h="14973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SAIC VW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15206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JAC-VW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932294"/>
                  </a:ext>
                </a:extLst>
              </a:tr>
            </a:tbl>
          </a:graphicData>
        </a:graphic>
      </p:graphicFrame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3361284"/>
              </p:ext>
            </p:extLst>
          </p:nvPr>
        </p:nvGraphicFramePr>
        <p:xfrm>
          <a:off x="3549650" y="3268250"/>
          <a:ext cx="1155910" cy="341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9552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86358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4170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New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Proj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34046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A0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</a:t>
                      </a:r>
                      <a:r>
                        <a:rPr lang="en-US" altLang="zh-CN" sz="8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UVe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/C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18808"/>
                  </a:ext>
                </a:extLst>
              </a:tr>
            </a:tbl>
          </a:graphicData>
        </a:graphic>
      </p:graphicFrame>
      <p:graphicFrame>
        <p:nvGraphicFramePr>
          <p:cNvPr id="51" name="Tab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5950943"/>
              </p:ext>
            </p:extLst>
          </p:nvPr>
        </p:nvGraphicFramePr>
        <p:xfrm>
          <a:off x="1933870" y="3268250"/>
          <a:ext cx="1214851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30998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67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de-DE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361591841"/>
              </p:ext>
            </p:extLst>
          </p:nvPr>
        </p:nvGraphicFramePr>
        <p:xfrm>
          <a:off x="1877328" y="2396359"/>
          <a:ext cx="6828640" cy="2897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Volkswagen Brand </a:t>
            </a:r>
            <a:r>
              <a:rPr lang="en-US" dirty="0">
                <a:sym typeface="VWAG TheSans" panose="020B0502050302020203" pitchFamily="34" charset="0"/>
              </a:rPr>
              <a:t>(CKD &amp; FBU)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 NEV Volume PR69.OP vs. PR69.SP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7964430"/>
              </p:ext>
            </p:extLst>
          </p:nvPr>
        </p:nvGraphicFramePr>
        <p:xfrm>
          <a:off x="779929" y="5106749"/>
          <a:ext cx="7862270" cy="1325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25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89874721"/>
                    </a:ext>
                  </a:extLst>
                </a:gridCol>
              </a:tblGrid>
              <a:tr h="2209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Delta (ppt) </a:t>
                      </a:r>
                    </a:p>
                  </a:txBody>
                  <a:tcPr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AW-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AIC 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097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JAC-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924822"/>
                  </a:ext>
                </a:extLst>
              </a:tr>
              <a:tr h="2209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BU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097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VW Brand</a:t>
                      </a:r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Total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627239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30887" y="2758185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958" y="1412633"/>
            <a:ext cx="9224243" cy="68896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lvl="0" indent="-228600"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709069" y="2774087"/>
            <a:ext cx="1735289" cy="907061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709069" y="2776679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45153" y="2973584"/>
            <a:ext cx="594917" cy="513437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5645153" y="2976176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2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11565" y="3058299"/>
            <a:ext cx="2373383" cy="764075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6311565" y="3060891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noProof="0" dirty="0" smtClean="0">
                <a:solidFill>
                  <a:srgbClr val="FFFFFF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3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24131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2965" name="think-cell Slide" r:id="rId35" imgW="470" imgH="469" progId="TCLayout.ActiveDocument.1">
                  <p:embed/>
                </p:oleObj>
              </mc:Choice>
              <mc:Fallback>
                <p:oleObj name="think-cell Slide" r:id="rId35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34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87" name="Chart 86"/>
          <p:cNvGraphicFramePr/>
          <p:nvPr>
            <p:custDataLst>
              <p:tags r:id="rId4"/>
            </p:custDataLst>
            <p:extLst/>
          </p:nvPr>
        </p:nvGraphicFramePr>
        <p:xfrm>
          <a:off x="1133475" y="2419350"/>
          <a:ext cx="8453438" cy="2538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46" name="Rectangle 4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40811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0A2DB3-D343-439A-A485-FE5955399AC7}" type="datetime'''''''''''''4''''''.''''''''''''''0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913563" y="38608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CB225F3-AE7C-489B-AB97-CA287BBD5965}" type="datetime'''''''''1,''''4''''''''''1''''''''''0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41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56" name="Rectangle 5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553075" y="4184650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FD72876-0A13-4584-BF9A-4FCE2753DD89}" type="datetime'''''''''''4.''''''''''''''''''''''''''8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098675" y="41497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B7F2B4-3959-4812-B54C-BD1B88463F42}" type="datetime'''''''''''''5''''''''.''''''''''''''''''0%'''''''">
              <a:rPr lang="en-US" altLang="en-US" sz="1000" b="1" smtClean="0"/>
              <a:pPr algn="ctr">
                <a:spcAft>
                  <a:spcPct val="0"/>
                </a:spcAft>
              </a:pPr>
              <a:t>5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479800" y="41656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88B7AB-4A59-474D-9E6A-9C70C589B922}" type="datetime'''''5''''''''''''''''''''''''''.''0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128838" y="455136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8F6D2E7-A868-46B8-9940-C13F0C346C84}" type="datetime'''''''''''''2''''''''2''''''''''''''''''''''0'''''''''''''''">
              <a:rPr lang="en-US" altLang="en-US" sz="1000" b="1" smtClean="0"/>
              <a:pPr algn="ctr">
                <a:spcAft>
                  <a:spcPct val="0"/>
                </a:spcAft>
              </a:pPr>
              <a:t>220</a:t>
            </a:fld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43" name="Rectangle 4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349625" y="4365625"/>
            <a:ext cx="244475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BB93FDD-AC0F-4DB5-AE73-ACCD3E5B75AE}" type="datetime'''''''''''''''''''''''''''''''''''''''''''''''5''''''''6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6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8315325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785F952-4089-400F-9E30-71EB9BA11346}" type="datetime'''''''''4.''''''8%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789238" y="40703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05B143A-1849-44CB-BEDC-0C7551A8554D}" type="datetime'''''''''''''6''.''''''''''''''''''''0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417036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E633025-084B-41DF-8792-378C978A6DC1}" type="datetime'''''''''''''''''''''''''4''''''.''''''0''''''''''%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862513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BA9F31A-422F-4072-BCE2-883BE926AB4B}" type="datetime'''''''4''''''''''.''''''''''''''8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243638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33C7579-5173-4F3B-A359-436205142C21}" type="datetime'''''4''''''''''''''.''8''''''''''''''%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8985250" y="35417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298935-B9DD-43F0-8807-0AB609B349B7}" type="datetime'''1'''',''9''''''''2''''''''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92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934200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4086F3-04E8-4FD5-9BEB-24118DC8FE0D}" type="datetime'4''''''''''''''''''''''''''''''''''''''.''8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624763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DCB7A31-804B-4EDD-B909-A447E4E1AD4D}" type="datetime'''''''''''''4''''''''''.''''''''''8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819400" y="4465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7B44D16-FA6C-437D-9D91-4E595C44AC1F}" type="datetime'''39''''''''''''''''''''''''0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9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9005888" y="416877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4547CE1-CF70-4FAA-9D57-52DAD2BEC7E1}" type="datetime'''''''''''''''''''''''''''''4''.''''''8''''%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473200" y="4667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86D228-F8F3-43FB-AB9F-F001DD90D07F}" type="datetime'''''''''''''''''''''5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200525" y="41084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ACED5C6-1F84-4082-B9F5-1B1CEDABCBB7}" type="datetime'''''''''''''''''''73''''''''''''''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3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891088" y="40322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CDDE87-2992-4940-87F9-0234D237554A}" type="datetime'''9''''''''''''''''''''''''''''''''''''0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532438" y="40322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61B049-BC28-4E0C-9CA1-2BD1933144D8}" type="datetime'''''''''''''''1'''''''',''''''''''''''''''''''''07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7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223000" y="39624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5C35985-2253-41A7-A108-5E9A0A89C125}" type="datetime'''''''''''''''''''''1'''''',2''''''''''''40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24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604125" y="37592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8B2FB74-3EBE-46B9-ABF2-C0C810B8E286}" type="datetime'''''''''''''1'''''''''''''''''''',''5''''''8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58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294688" y="36433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4F2C968-2449-4052-9127-2AEFCFF8FDD3}" type="datetime'''''''''''''''''1'',''''''''''''''''750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7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29"/>
            </p:custDataLst>
          </p:nvPr>
        </p:nvCxnSpPr>
        <p:spPr bwMode="auto">
          <a:xfrm>
            <a:off x="620713" y="38100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30"/>
            </p:custDataLst>
          </p:nvPr>
        </p:nvSpPr>
        <p:spPr bwMode="auto">
          <a:xfrm>
            <a:off x="650875" y="3930650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7" name="Oval 76"/>
          <p:cNvSpPr/>
          <p:nvPr>
            <p:custDataLst>
              <p:tags r:id="rId31"/>
            </p:custDataLst>
          </p:nvPr>
        </p:nvSpPr>
        <p:spPr bwMode="auto">
          <a:xfrm>
            <a:off x="666750" y="37846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44550" y="3752850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826833CC-24F0-4E2A-86F8-F52BCDE66F3F}" type="datetime'N''''''E''''''''''''V'' ''''''''''''''''''''M''''''''''S%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44550" y="39258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/>
          </p:nvPr>
        </p:nvGraphicFramePr>
        <p:xfrm>
          <a:off x="401445" y="4986938"/>
          <a:ext cx="9112675" cy="135331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1031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+mj-lt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+mj-lt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  <a:r>
                        <a:rPr lang="en-US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H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latin typeface="+mj-lt"/>
                        </a:rPr>
                        <a:t>MQB/MLB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+mj-lt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PE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612775" y="3416327"/>
            <a:ext cx="584093" cy="2974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units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1048313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64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olkswagen Group China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W Brand Passenger Car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4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43" name="Rectangle 4"/>
          <p:cNvSpPr>
            <a:spLocks noChangeArrowheads="1"/>
          </p:cNvSpPr>
          <p:nvPr/>
        </p:nvSpPr>
        <p:spPr bwMode="auto">
          <a:xfrm>
            <a:off x="411132" y="4126056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5</a:t>
            </a:r>
          </a:p>
        </p:txBody>
      </p:sp>
      <p:sp>
        <p:nvSpPr>
          <p:cNvPr id="45" name="Rectangle 4"/>
          <p:cNvSpPr>
            <a:spLocks noChangeArrowheads="1"/>
          </p:cNvSpPr>
          <p:nvPr/>
        </p:nvSpPr>
        <p:spPr bwMode="auto">
          <a:xfrm>
            <a:off x="411132" y="4717894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6</a:t>
            </a:r>
          </a:p>
        </p:txBody>
      </p:sp>
      <p:sp>
        <p:nvSpPr>
          <p:cNvPr id="47" name="Rectangle 4"/>
          <p:cNvSpPr>
            <a:spLocks noChangeArrowheads="1"/>
          </p:cNvSpPr>
          <p:nvPr/>
        </p:nvSpPr>
        <p:spPr bwMode="auto">
          <a:xfrm>
            <a:off x="411132" y="530973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7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Jetta Brand 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1012175" y="4126056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 </a:t>
            </a:r>
            <a:r>
              <a:rPr lang="en-US" altLang="zh-CN" sz="1800" b="1" dirty="0" err="1">
                <a:solidFill>
                  <a:srgbClr val="FFFFFF"/>
                </a:solidFill>
                <a:latin typeface="VWAG TheSans"/>
                <a:sym typeface="VWAG TheSans"/>
              </a:rPr>
              <a:t>Cupra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 Brand 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1012175" y="4717894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Audi Brand</a:t>
            </a: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1012175" y="530973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Skoda Brand</a:t>
            </a:r>
          </a:p>
        </p:txBody>
      </p:sp>
    </p:spTree>
    <p:extLst>
      <p:ext uri="{BB962C8B-B14F-4D97-AF65-F5344CB8AC3E}">
        <p14:creationId xmlns:p14="http://schemas.microsoft.com/office/powerpoint/2010/main" val="2304033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760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VWAG TheSans" panose="020B0502050302020203" pitchFamily="34" charset="0"/>
              </a:rPr>
              <a:t>Volkswagen </a:t>
            </a:r>
            <a:r>
              <a:rPr lang="en-US" dirty="0" smtClean="0">
                <a:sym typeface="VWAG TheSans" panose="020B0502050302020203" pitchFamily="34" charset="0"/>
              </a:rPr>
              <a:t>Brand Cycle Plan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84581" y="1571708"/>
          <a:ext cx="9111844" cy="439785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555537">
                  <a:extLst>
                    <a:ext uri="{9D8B030D-6E8A-4147-A177-3AD203B41FA5}">
                      <a16:colId xmlns:a16="http://schemas.microsoft.com/office/drawing/2014/main" val="806253177"/>
                    </a:ext>
                  </a:extLst>
                </a:gridCol>
                <a:gridCol w="1791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3604">
                  <a:extLst>
                    <a:ext uri="{9D8B030D-6E8A-4147-A177-3AD203B41FA5}">
                      <a16:colId xmlns:a16="http://schemas.microsoft.com/office/drawing/2014/main" val="3404441349"/>
                    </a:ext>
                  </a:extLst>
                </a:gridCol>
                <a:gridCol w="16736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7428">
                  <a:extLst>
                    <a:ext uri="{9D8B030D-6E8A-4147-A177-3AD203B41FA5}">
                      <a16:colId xmlns:a16="http://schemas.microsoft.com/office/drawing/2014/main" val="365394444"/>
                    </a:ext>
                  </a:extLst>
                </a:gridCol>
              </a:tblGrid>
              <a:tr h="3040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 of Chan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 / JV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S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O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emarks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68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w Project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 Entry NB/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S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un-2023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hift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from Skoda Brand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9841">
                <a:tc vMerge="1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rgbClr val="026F4E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0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</a:t>
                      </a:r>
                      <a:r>
                        <a:rPr lang="en-US" sz="1000" b="0" baseline="0" dirty="0" err="1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UVe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/CM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baseline="0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an-2025</a:t>
                      </a:r>
                      <a:endParaRPr lang="en-US" sz="1000" b="0" i="0" u="none" strike="noStrike" dirty="0" smtClean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hift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from Cupra Brand. </a:t>
                      </a:r>
                    </a:p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n CP69.SP, SOP: Jun 2024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5086917"/>
                  </a:ext>
                </a:extLst>
              </a:tr>
              <a:tr h="276688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</a:t>
                      </a: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inus </a:t>
                      </a:r>
                      <a:r>
                        <a:rPr lang="en-US" sz="1000" baseline="0" dirty="0" err="1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UVe</a:t>
                      </a: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/ CN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ar-2023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Sep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6 months delay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47842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ero B/ CN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ar-2022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Mar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2 months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643353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B SMV/ CN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Nov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Feb-2021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 months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61651012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ero B/ CS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2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i="0" u="none" strike="noStrike" baseline="0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</a:t>
                      </a: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9 months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3018899"/>
                  </a:ext>
                </a:extLst>
              </a:tr>
              <a:tr h="73840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 Entry NB BEV/CM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3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i="0" u="none" strike="noStrike" baseline="0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</a:t>
                      </a: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2025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6289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n CP69.SP, Named ”A Small NB BEV”</a:t>
                      </a:r>
                    </a:p>
                    <a:p>
                      <a:pPr marL="26289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Change from White Cloud to Green Cloud</a:t>
                      </a:r>
                    </a:p>
                    <a:p>
                      <a:pPr marL="26289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1 months delay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375853"/>
                  </a:ext>
                </a:extLst>
              </a:tr>
              <a:tr h="276688">
                <a:tc rowSpan="5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 Pull Ahead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ayron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Coupe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o EOP planned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pr-2025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5 year volume loss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9472998"/>
                  </a:ext>
                </a:extLst>
              </a:tr>
              <a:tr h="276688">
                <a:tc vMerge="1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Golf SV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1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1229452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Gran </a:t>
                      </a:r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Lavid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Feb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4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11001884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algn="l"/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eramont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X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o EOP planned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Nov-2025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5 year volume loss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800530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algn="l"/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hideon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ug-2023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3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5183093"/>
                  </a:ext>
                </a:extLst>
              </a:tr>
              <a:tr h="276688"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EOP Extension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algn="l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antan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Oct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 months  Extension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759103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Green front refers to NEV products; </a:t>
            </a:r>
            <a:r>
              <a:rPr lang="en-US" sz="800" dirty="0">
                <a:latin typeface="+mj-lt"/>
              </a:rPr>
              <a:t>Major changes of model cycle plan were considered</a:t>
            </a:r>
          </a:p>
        </p:txBody>
      </p:sp>
      <p:sp>
        <p:nvSpPr>
          <p:cNvPr id="6" name="Up Arrow 5"/>
          <p:cNvSpPr/>
          <p:nvPr/>
        </p:nvSpPr>
        <p:spPr bwMode="auto">
          <a:xfrm>
            <a:off x="1622066" y="2088484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Up Arrow 10"/>
          <p:cNvSpPr/>
          <p:nvPr/>
        </p:nvSpPr>
        <p:spPr bwMode="auto">
          <a:xfrm flipV="1">
            <a:off x="1622066" y="3311659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3" name="Up Arrow 12"/>
          <p:cNvSpPr/>
          <p:nvPr/>
        </p:nvSpPr>
        <p:spPr bwMode="auto">
          <a:xfrm flipV="1">
            <a:off x="1622066" y="4903247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4" name="Up Arrow 13"/>
          <p:cNvSpPr/>
          <p:nvPr/>
        </p:nvSpPr>
        <p:spPr bwMode="auto">
          <a:xfrm>
            <a:off x="1622066" y="5739458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1323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885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466" name="think-cell Slide" r:id="rId50" imgW="470" imgH="469" progId="TCLayout.ActiveDocument.1">
                  <p:embed/>
                </p:oleObj>
              </mc:Choice>
              <mc:Fallback>
                <p:oleObj name="think-cell Slide" r:id="rId50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Jetta Brand 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81" name="Chart 80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51650111"/>
              </p:ext>
            </p:extLst>
          </p:nvPr>
        </p:nvGraphicFramePr>
        <p:xfrm>
          <a:off x="1147763" y="2630488"/>
          <a:ext cx="8431212" cy="314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65" name="Rectangle 6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034463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0427FB-3C8A-4011-B704-14A214B04D85}" type="datetime'''''''''''2''''''''''''0''''3''''''''''''''''0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278563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7C662A-8396-4AB6-BA4F-83118A3BE854}" type="datetime'''''2''''''''''''''''0''''''''''''''''2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835275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C227A6-A41C-4528-88E8-D7DDAA106CC7}" type="datetime'''''''''''''''''''''2''''''''''''''''0''''''''2''''''''''1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457325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20ADE8-9339-4367-A7B5-05721C20C669}" type="datetime'''''2''''''''''''''''''0''''''''''''''''''''1''''''''''9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216025" y="53467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5F01114F-44B4-4C07-95CB-9D149E41F154}" type="datetime'0.''''''''''''2''''''''''''''''''''''''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0.2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5584825" y="50546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49DA2A7-9EDC-4A94-AE50-B59A192FE06B}" type="datetime'''''10''''''''0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489325" y="45989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2B9691E-927D-40A4-A49F-00BA63EA36DE}" type="datetime'''2''''''''''''''''.''6''''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554663" y="38052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C920E27-C499-4891-9155-3A493FDE41DF}" type="datetime'''''''5''''''.''''''''''''''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800350" y="48641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BB79F99-2FD2-4B63-A85A-49AEE8BBADC0}" type="datetime'''''''''''''''''''''1''''''.''''''''''8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8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111375" y="5113338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3AEBCF0-CCA1-4EF8-9A2E-F7DB6F084445}" type="datetime'''''''''1.''''''''''''''''''''''''''''0''''''''''%''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243388" y="51466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738AD65-8C49-4D27-8341-C32E6BE332BB}" type="datetime'''''''''''''''''80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146300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452547-61A6-4E46-91CA-A63371423982}" type="datetime'2''''''0''''''''2''''''''''''''''''''0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524250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7023C5-829F-4805-B923-5672153B9755}" type="datetime'''''''''''''''2''''''''''''0''''''''''''''''''''''''2''2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8310563" y="27463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8EC9D9E-AC0D-406F-B9DF-4FA6BB4EF12D}" type="datetime'''''''8.2''''''''''''''''''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.2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4178300" y="43338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9DD19BF-8672-450E-B57A-77BB99144FC8}" type="datetime'''''''''3''''''''''''''.''''''''''''''''''''''''''''4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.4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213225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3049D8-BAF7-4370-ACEB-3F8F6265BD82}" type="datetime'''''''''2''''''''''0''''''''''''''''''2''''''''''3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656513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638F85-5364-4492-AA07-E5872AA99943}" type="datetime'''''''''''2''''''0''''''''''2''''''8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4867275" y="40703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DB5820C-A0E5-4E71-B2B3-D7C9578584D8}" type="datetime'4''''''''''''''.''''''''''''''''''''''2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.2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7651750" y="49180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FA9E311-16D1-45F4-B6CA-B96F31A3ADCA}" type="datetime'''''''''''''''''''''''''13''''''''''''''''''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3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4902200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F3CCD4-3BA8-4FB5-BE23-76A7F9A3F63E}" type="datetime'''''''''''''2''''''''''''0''''2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589588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B955E8-DE78-4CAE-AF77-F687F501E968}" type="datetime'''''''''''''''''''''2''''''''''''''0''''''2''''5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4932363" y="51006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7F37D29-83BA-4DA1-A875-B51ACBB09886}" type="datetime'''''''''''''''''''''''''''''''''''''''''''''''''9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6243638" y="354012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B99E9C7-8DF6-456D-855E-F04095C46D6E}" type="datetime'''''''''''''''''5''''''''''''''.''''''''''''''''''''8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8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6932613" y="3275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6C275A3-483E-4071-BDBE-9BF7FDC400BB}" type="datetime'''''6.''''''''''''''''''''''6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6967538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36A238-F014-4DCD-B76E-992286F4F6AB}" type="datetime'''20''''''''''''''27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7621588" y="30114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EDB4FE9-245D-4885-AF5F-46F28977B3C8}" type="datetime'''''7''.4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.4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8345488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D98A82-F53A-48EC-94E3-8BB20E29B620}" type="datetime'''''''2''''''0''''''''''''''''''''''''''''''2''''9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8999538" y="24812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A5EE84C-3F74-48ED-B625-F13EF5929852}" type="datetime'''''''''''''''''''''''''''''''''9''''.''''''''''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1528763" y="53308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D8BF849-13A0-419C-9FC8-7167F3913247}" type="datetime'''''''''''''''''''''''''''''''''4''''''''''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3554413" y="51927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3E56779-FAF8-4044-AD77-B587CC97F6F1}" type="datetime'''''''''7''''''''''''0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1935163" y="5268913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3E6278E-7D28-4C3A-82E6-405370613DF6}" type="datetime'''''''''''5''''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2865438" y="52387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FEF7B71-B3B6-48BA-873E-BD496ED1C0D0}" type="datetime'''''''''''''''''''6''''''''''''''''''''''0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6273800" y="50101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1B3BD65-A27C-4D17-9D2C-5906F11BEE54}" type="datetime'''''''''''''''''''''''1''''''''''''''''''1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6962775" y="49641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0FEAEE8-CBD1-419E-8CAA-834CFA4E4664}" type="datetime'''1''''''''''''''''''''''''''2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8340725" y="48720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C13494D-B702-4111-ADEC-53FDDF4AD5EF}" type="datetime'1''''''''''''''''''''''''''4''''''''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9029700" y="48260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2B40DF4-6068-435A-ADAE-973317E8ABEA}" type="datetime'''''''''''''1''''''5''''''0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1" name="Rectangle 70"/>
          <p:cNvSpPr/>
          <p:nvPr>
            <p:custDataLst>
              <p:tags r:id="rId41"/>
            </p:custDataLst>
          </p:nvPr>
        </p:nvSpPr>
        <p:spPr bwMode="auto">
          <a:xfrm>
            <a:off x="476250" y="3887788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42"/>
            </p:custDataLst>
          </p:nvPr>
        </p:nvCxnSpPr>
        <p:spPr bwMode="auto">
          <a:xfrm>
            <a:off x="446088" y="35941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Rectangle 69"/>
          <p:cNvSpPr/>
          <p:nvPr>
            <p:custDataLst>
              <p:tags r:id="rId43"/>
            </p:custDataLst>
          </p:nvPr>
        </p:nvSpPr>
        <p:spPr bwMode="auto">
          <a:xfrm>
            <a:off x="476250" y="3714750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2" name="Oval 71"/>
          <p:cNvSpPr/>
          <p:nvPr>
            <p:custDataLst>
              <p:tags r:id="rId44"/>
            </p:custDataLst>
          </p:nvPr>
        </p:nvSpPr>
        <p:spPr bwMode="auto">
          <a:xfrm>
            <a:off x="492125" y="35687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669925" y="3536950"/>
            <a:ext cx="2206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7D09987E-3C9E-4375-8E42-07BB62809762}" type="datetime'''''''''''''''''''''''''''''''T''''''''''''M''''''%'''''">
              <a:rPr lang="en-US" altLang="en-US" sz="8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TM%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669925" y="37099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744EC7-2293-473F-97E3-06C8268B9D19}" type="datetime'''''''''''''N''''''''''''E''''''''V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669925" y="3883025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29D29B-151D-41B2-B8AE-4EC31DDF71F4}" type="datetime'''''''''''I''''''''''C''''''''E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CE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4189670"/>
              </p:ext>
            </p:extLst>
          </p:nvPr>
        </p:nvGraphicFramePr>
        <p:xfrm>
          <a:off x="392113" y="5731459"/>
          <a:ext cx="9122228" cy="457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CE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2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93795" y="3018339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76958" y="1544054"/>
            <a:ext cx="9119467" cy="28633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indent="-228600">
              <a:spcBef>
                <a:spcPts val="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25555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6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8634" name="think-cell Slide" r:id="rId33" imgW="470" imgH="469" progId="TCLayout.ActiveDocument.1">
                  <p:embed/>
                </p:oleObj>
              </mc:Choice>
              <mc:Fallback>
                <p:oleObj name="think-cell Slide" r:id="rId33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2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etta</a:t>
            </a:r>
            <a:r>
              <a:rPr lang="en-US" dirty="0" smtClean="0"/>
              <a:t> </a:t>
            </a:r>
            <a:r>
              <a:rPr lang="en-US" dirty="0"/>
              <a:t>Brand (CKD &amp; FBU) PR69.OP </a:t>
            </a:r>
            <a:r>
              <a:rPr lang="en-US" dirty="0" smtClean="0"/>
              <a:t>vs. PR69.SP</a:t>
            </a:r>
            <a:r>
              <a:rPr lang="en-US" dirty="0" smtClean="0">
                <a:sym typeface="VWAG TheSans"/>
              </a:rPr>
              <a:t> </a:t>
            </a:r>
            <a:r>
              <a:rPr lang="en-US" dirty="0">
                <a:sym typeface="VWAG TheSans"/>
              </a:rPr>
              <a:t>- Acc. </a:t>
            </a:r>
            <a:r>
              <a:rPr lang="en-US" dirty="0" smtClean="0">
                <a:sym typeface="VWAG TheSans"/>
              </a:rPr>
              <a:t>Volumes (2020-2030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>
            <p:custDataLst>
              <p:tags r:id="rId4"/>
            </p:custDataLst>
          </p:nvPr>
        </p:nvCxnSpPr>
        <p:spPr bwMode="auto">
          <a:xfrm>
            <a:off x="5953125" y="2925763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auto">
          <a:xfrm>
            <a:off x="1536700" y="2925763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6"/>
            </p:custDataLst>
          </p:nvPr>
        </p:nvCxnSpPr>
        <p:spPr bwMode="auto">
          <a:xfrm>
            <a:off x="3009900" y="3124200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4481513" y="2530475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426325" y="21351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2" name="Chart 51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31062314"/>
              </p:ext>
            </p:extLst>
          </p:nvPr>
        </p:nvGraphicFramePr>
        <p:xfrm>
          <a:off x="309563" y="2052638"/>
          <a:ext cx="8997950" cy="291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 useBgFill="1">
        <p:nvSpPr>
          <p:cNvPr id="15" name="Freeform 14"/>
          <p:cNvSpPr/>
          <p:nvPr>
            <p:custDataLst>
              <p:tags r:id="rId10"/>
            </p:custDataLst>
          </p:nvPr>
        </p:nvSpPr>
        <p:spPr bwMode="auto">
          <a:xfrm>
            <a:off x="8034338" y="3852863"/>
            <a:ext cx="909638" cy="301626"/>
          </a:xfrm>
          <a:custGeom>
            <a:avLst/>
            <a:gdLst/>
            <a:ahLst/>
            <a:cxnLst/>
            <a:rect l="0" t="0" r="0" b="0"/>
            <a:pathLst>
              <a:path w="909638" h="301626">
                <a:moveTo>
                  <a:pt x="0" y="244475"/>
                </a:moveTo>
                <a:lnTo>
                  <a:pt x="909637" y="0"/>
                </a:lnTo>
                <a:lnTo>
                  <a:pt x="909637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2" name="Freeform 11"/>
          <p:cNvSpPr/>
          <p:nvPr>
            <p:custDataLst>
              <p:tags r:id="rId11"/>
            </p:custDataLst>
          </p:nvPr>
        </p:nvSpPr>
        <p:spPr bwMode="auto">
          <a:xfrm>
            <a:off x="673100" y="3852863"/>
            <a:ext cx="909639" cy="301626"/>
          </a:xfrm>
          <a:custGeom>
            <a:avLst/>
            <a:gdLst/>
            <a:ahLst/>
            <a:cxnLst/>
            <a:rect l="0" t="0" r="0" b="0"/>
            <a:pathLst>
              <a:path w="909639" h="301626">
                <a:moveTo>
                  <a:pt x="0" y="244475"/>
                </a:moveTo>
                <a:lnTo>
                  <a:pt x="909638" y="0"/>
                </a:lnTo>
                <a:lnTo>
                  <a:pt x="909638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2"/>
            </p:custDataLst>
          </p:nvPr>
        </p:nvSpPr>
        <p:spPr bwMode="auto">
          <a:xfrm>
            <a:off x="673100" y="3852863"/>
            <a:ext cx="909639" cy="244476"/>
          </a:xfrm>
          <a:custGeom>
            <a:avLst/>
            <a:gdLst/>
            <a:ahLst/>
            <a:cxnLst/>
            <a:rect l="0" t="0" r="0" b="0"/>
            <a:pathLst>
              <a:path w="909639" h="244476">
                <a:moveTo>
                  <a:pt x="0" y="244475"/>
                </a:moveTo>
                <a:lnTo>
                  <a:pt x="9096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3"/>
            </p:custDataLst>
          </p:nvPr>
        </p:nvSpPr>
        <p:spPr bwMode="auto">
          <a:xfrm>
            <a:off x="673100" y="3910013"/>
            <a:ext cx="909639" cy="244476"/>
          </a:xfrm>
          <a:custGeom>
            <a:avLst/>
            <a:gdLst/>
            <a:ahLst/>
            <a:cxnLst/>
            <a:rect l="0" t="0" r="0" b="0"/>
            <a:pathLst>
              <a:path w="909639" h="244476">
                <a:moveTo>
                  <a:pt x="0" y="244475"/>
                </a:moveTo>
                <a:lnTo>
                  <a:pt x="9096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4"/>
            </p:custDataLst>
          </p:nvPr>
        </p:nvSpPr>
        <p:spPr bwMode="auto">
          <a:xfrm>
            <a:off x="8034338" y="3852863"/>
            <a:ext cx="909638" cy="244476"/>
          </a:xfrm>
          <a:custGeom>
            <a:avLst/>
            <a:gdLst/>
            <a:ahLst/>
            <a:cxnLst/>
            <a:rect l="0" t="0" r="0" b="0"/>
            <a:pathLst>
              <a:path w="909638" h="244476">
                <a:moveTo>
                  <a:pt x="0" y="244475"/>
                </a:moveTo>
                <a:lnTo>
                  <a:pt x="9096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5"/>
            </p:custDataLst>
          </p:nvPr>
        </p:nvSpPr>
        <p:spPr bwMode="auto">
          <a:xfrm>
            <a:off x="8034338" y="3910013"/>
            <a:ext cx="909638" cy="244476"/>
          </a:xfrm>
          <a:custGeom>
            <a:avLst/>
            <a:gdLst/>
            <a:ahLst/>
            <a:cxnLst/>
            <a:rect l="0" t="0" r="0" b="0"/>
            <a:pathLst>
              <a:path w="909638" h="244476">
                <a:moveTo>
                  <a:pt x="0" y="244475"/>
                </a:moveTo>
                <a:lnTo>
                  <a:pt x="9096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6"/>
            </p:custDataLst>
          </p:nvPr>
        </p:nvCxnSpPr>
        <p:spPr bwMode="auto">
          <a:xfrm flipV="1">
            <a:off x="1127125" y="1717675"/>
            <a:ext cx="0" cy="942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7"/>
            </p:custDataLst>
          </p:nvPr>
        </p:nvCxnSpPr>
        <p:spPr bwMode="auto">
          <a:xfrm>
            <a:off x="1127125" y="1717675"/>
            <a:ext cx="73612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8"/>
            </p:custDataLst>
          </p:nvPr>
        </p:nvCxnSpPr>
        <p:spPr bwMode="auto">
          <a:xfrm>
            <a:off x="8488363" y="1717675"/>
            <a:ext cx="0" cy="1524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5084763" y="4926013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92" name="Rectangle 91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389188" y="285591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3956972-2B4B-4BC7-A5FD-10A833D3E267}" type="datetime'-''''''''''''''''''''''''''''''''1''''''0''''''''''''''''0'">
              <a:rPr lang="en-US" altLang="en-US" sz="1000" b="1" smtClean="0">
                <a:solidFill>
                  <a:schemeClr val="bg1"/>
                </a:solidFill>
              </a:rPr>
              <a:pPr lvl="0" algn="ctr">
                <a:spcAft>
                  <a:spcPct val="0"/>
                </a:spcAft>
                <a:defRPr/>
              </a:pPr>
              <a:t>-100</a:t>
            </a:fld>
            <a:endParaRPr lang="en-US" altLang="en-US" sz="1000" b="1" dirty="0" smtClean="0">
              <a:solidFill>
                <a:schemeClr val="bg1"/>
              </a:solidFill>
              <a:latin typeface="+mn-lt"/>
              <a:sym typeface="+mn-lt"/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strike="noStrike" kern="120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sym typeface="+mn-lt"/>
              </a:rPr>
              <a:t>(-1.3%)</a:t>
            </a:r>
            <a:endParaRPr kumimoji="0" lang="en-US" altLang="en-US" sz="1000" b="1" strike="noStrike" kern="1200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2062164" y="4926013"/>
            <a:ext cx="10763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0EBE95D-03E3-4B7D-A245-A40EF7D22D34}" type="datetime'''''''To''''tal'''''''''' M''ar''k''''et E''''''ffe''c''t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69925" y="4926013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846513" y="2659063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C378ECD-CDAD-4247-A22D-619E376CDD6D}" type="datetime'''''''''''''''''''''3''''''0''''''''0'''''''''''''''''''">
              <a:rPr lang="en-US" altLang="en-US" sz="1000" b="1" smtClean="0"/>
              <a:pPr lvl="0" algn="ctr">
                <a:spcAft>
                  <a:spcPct val="0"/>
                </a:spcAft>
                <a:defRPr/>
              </a:pPr>
              <a:t>300</a:t>
            </a:fld>
            <a:endParaRPr lang="en-US" altLang="en-US" sz="1000" b="1" dirty="0" smtClean="0"/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strike="noStrike" kern="1200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sym typeface="+mn-lt"/>
              </a:rPr>
              <a:t>(+3.4%)</a:t>
            </a:r>
            <a:endParaRPr kumimoji="0" lang="en-US" altLang="en-US" sz="1000" b="1" strike="noStrike" kern="1200" spc="0" normalizeH="0" noProof="0" dirty="0">
              <a:ln>
                <a:noFill/>
              </a:ln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332413" y="255905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2808B23-8175-4ECD-BEED-60366CCE5E4F}" type="datetime'''''''''''-''''''''''''''''''''''''''''20''''0'''">
              <a:rPr lang="en-US" altLang="en-US" sz="1000" b="1" smtClean="0">
                <a:solidFill>
                  <a:schemeClr val="bg1"/>
                </a:solidFill>
              </a:rPr>
              <a:pPr lvl="0" algn="ctr">
                <a:spcAft>
                  <a:spcPct val="0"/>
                </a:spcAft>
                <a:defRPr/>
              </a:pPr>
              <a:t>-200</a:t>
            </a:fld>
            <a:endParaRPr lang="en-US" altLang="en-US" sz="1000" b="1" dirty="0" smtClean="0">
              <a:solidFill>
                <a:schemeClr val="bg1"/>
              </a:solidFill>
              <a:latin typeface="+mn-lt"/>
              <a:sym typeface="+mn-lt"/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strike="noStrike" kern="120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sym typeface="+mn-lt"/>
              </a:rPr>
              <a:t>(-2.9%)</a:t>
            </a:r>
            <a:endParaRPr kumimoji="0" lang="en-US" altLang="en-US" sz="1000" b="1" strike="noStrike" kern="1200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3676650" y="4926013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791325" y="2362200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3B3DDD6-F1D4-4B71-B404-B808EF7DCA68}" type="datetime'''''''''''''4''''''''''''0''''''0'''''''''''''''''''''">
              <a:rPr lang="en-US" altLang="en-US" sz="1000" b="1" smtClean="0"/>
              <a:pPr lvl="0" algn="ctr">
                <a:spcAft>
                  <a:spcPct val="0"/>
                </a:spcAft>
                <a:defRPr/>
              </a:pPr>
              <a:t>400</a:t>
            </a:fld>
            <a:endParaRPr lang="en-US" altLang="en-US" sz="1000" b="1" dirty="0" smtClean="0"/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strike="noStrike" kern="1200" spc="0" normalizeH="0" noProof="0" dirty="0" smtClean="0">
                <a:ln>
                  <a:noFill/>
                </a:ln>
                <a:effectLst/>
                <a:uLnTx/>
                <a:uFillTx/>
                <a:latin typeface="VWAG TheSans"/>
                <a:sym typeface="+mj-lt"/>
              </a:rPr>
              <a:t>(+1.0%)</a:t>
            </a:r>
            <a:endParaRPr kumimoji="0" lang="en-US" altLang="en-US" sz="1000" b="1" i="0" strike="noStrike" kern="1200" spc="0" normalizeH="0" noProof="0" dirty="0">
              <a:ln>
                <a:noFill/>
              </a:ln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657975" y="4926013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231188" y="492601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235950" y="1908175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3027BB5-6C7F-4166-A948-B2D69EFFE94E}" type="datetime'''''''''''''10'''',''4''0''''''0''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4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74713" y="2698750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7D38454-564B-415D-9FBE-A802AF6AC159}" type="datetime'''''''''1''''''''''''''''0'',0''''''''''00''''''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452938" y="1431925"/>
            <a:ext cx="708025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23846C5-2CBF-4D26-9A1D-8F2B2D1CE506}" type="datetime'''''''''''''+''4''''''''''''''''''''0''''''''0'">
              <a:rPr lang="en-US" altLang="en-US" sz="1200" b="1" smtClean="0">
                <a:solidFill>
                  <a:srgbClr val="007770"/>
                </a:solidFill>
              </a:rPr>
              <a:pPr lvl="0" algn="ctr">
                <a:spcAft>
                  <a:spcPct val="0"/>
                </a:spcAft>
                <a:defRPr/>
              </a:pPr>
              <a:t>+40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  <a:t>(</a:t>
            </a:r>
            <a:fld id="{252E08F0-DFB0-4EAC-8790-93908B98575E}" type="datetime'''+''''''''''4''''''''''''''''.''''''''''''''''''0''%'''">
              <a:rPr lang="en-US" altLang="en-US" sz="1200" b="1" smtClean="0">
                <a:solidFill>
                  <a:srgbClr val="007770"/>
                </a:solidFill>
              </a:rPr>
              <a:pPr lvl="0" algn="ctr">
                <a:spcAft>
                  <a:spcPct val="0"/>
                </a:spcAft>
                <a:defRPr/>
              </a:pPr>
              <a:t>+4.0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777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418920"/>
              </p:ext>
            </p:extLst>
          </p:nvPr>
        </p:nvGraphicFramePr>
        <p:xfrm>
          <a:off x="392118" y="5182251"/>
          <a:ext cx="8833104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2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4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805420"/>
              </p:ext>
            </p:extLst>
          </p:nvPr>
        </p:nvGraphicFramePr>
        <p:xfrm>
          <a:off x="3429000" y="3197167"/>
          <a:ext cx="1235464" cy="492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9106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86358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64148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New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Proj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340462"/>
                  </a:ext>
                </a:extLst>
              </a:tr>
              <a:tr h="16414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A Entry NB/C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049657"/>
                  </a:ext>
                </a:extLst>
              </a:tr>
              <a:tr h="16414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A0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</a:t>
                      </a:r>
                      <a:r>
                        <a:rPr lang="en-US" altLang="zh-CN" sz="8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UVe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/C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18808"/>
                  </a:ext>
                </a:extLst>
              </a:tr>
            </a:tbl>
          </a:graphicData>
        </a:graphic>
      </p:graphicFrame>
      <p:graphicFrame>
        <p:nvGraphicFramePr>
          <p:cNvPr id="51" name="Tab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751230"/>
              </p:ext>
            </p:extLst>
          </p:nvPr>
        </p:nvGraphicFramePr>
        <p:xfrm>
          <a:off x="1979873" y="3197167"/>
          <a:ext cx="1214851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408798" y="6419499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47321"/>
              </p:ext>
            </p:extLst>
          </p:nvPr>
        </p:nvGraphicFramePr>
        <p:xfrm>
          <a:off x="4853940" y="3197167"/>
          <a:ext cx="1417320" cy="1214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1903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6541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61097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OP Delay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FAW-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AIC 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JAC 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8898100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EOP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Pull Ahead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1273247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FAW-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3778715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AIC 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5944363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EOP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Extension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659190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AIC VW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13076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1165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49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Jetta Brand Volume PR69.OP vs. PR69.SP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9277053"/>
              </p:ext>
            </p:extLst>
          </p:nvPr>
        </p:nvGraphicFramePr>
        <p:xfrm>
          <a:off x="617220" y="5853386"/>
          <a:ext cx="7929232" cy="493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37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21405">
                  <a:extLst>
                    <a:ext uri="{9D8B030D-6E8A-4147-A177-3AD203B41FA5}">
                      <a16:colId xmlns:a16="http://schemas.microsoft.com/office/drawing/2014/main" val="188650236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Delta (ppt) 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1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Jetta Brand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4038574767"/>
              </p:ext>
            </p:extLst>
          </p:nvPr>
        </p:nvGraphicFramePr>
        <p:xfrm>
          <a:off x="1614275" y="2818701"/>
          <a:ext cx="7456714" cy="3162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92113" y="2918813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92113" y="1543056"/>
            <a:ext cx="9119467" cy="32800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indent="-228600">
              <a:spcBef>
                <a:spcPts val="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77805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753" name="think-cell Slide" r:id="rId81" imgW="493" imgH="493" progId="TCLayout.ActiveDocument.1">
                  <p:embed/>
                </p:oleObj>
              </mc:Choice>
              <mc:Fallback>
                <p:oleObj name="think-cell Slide" r:id="rId81" imgW="493" imgH="49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9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Titel</a:t>
            </a:r>
            <a:endParaRPr lang="en-US" dirty="0"/>
          </a:p>
        </p:txBody>
      </p:sp>
      <p:graphicFrame>
        <p:nvGraphicFramePr>
          <p:cNvPr id="108" name="Chart 107"/>
          <p:cNvGraphicFramePr/>
          <p:nvPr>
            <p:custDataLst>
              <p:tags r:id="rId4"/>
            </p:custDataLst>
          </p:nvPr>
        </p:nvGraphicFramePr>
        <p:xfrm>
          <a:off x="1244600" y="2122488"/>
          <a:ext cx="7548563" cy="2973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3"/>
          </a:graphicData>
        </a:graphic>
      </p:graphicFrame>
      <p:cxnSp>
        <p:nvCxnSpPr>
          <p:cNvPr id="3" name="Straight Connector 2"/>
          <p:cNvCxnSpPr/>
          <p:nvPr>
            <p:custDataLst>
              <p:tags r:id="rId5"/>
            </p:custDataLst>
          </p:nvPr>
        </p:nvCxnSpPr>
        <p:spPr bwMode="auto">
          <a:xfrm>
            <a:off x="5381625" y="2847975"/>
            <a:ext cx="0" cy="9207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Straight Connector 3"/>
          <p:cNvCxnSpPr/>
          <p:nvPr>
            <p:custDataLst>
              <p:tags r:id="rId6"/>
            </p:custDataLst>
          </p:nvPr>
        </p:nvCxnSpPr>
        <p:spPr bwMode="auto">
          <a:xfrm>
            <a:off x="8383588" y="2847975"/>
            <a:ext cx="0" cy="9207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7"/>
            </p:custDataLst>
          </p:nvPr>
        </p:nvCxnSpPr>
        <p:spPr bwMode="auto">
          <a:xfrm flipH="1">
            <a:off x="8682038" y="2940050"/>
            <a:ext cx="4445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tangle 1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311275" y="3600450"/>
            <a:ext cx="247650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445FDC6-9D5D-41B0-9170-06C6602BF242}" type="datetime'''''''''''''''''''''''''20''''''''''''''''.0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99390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CE332FB-AF47-4EAC-8906-9028327842AE}" type="datetime'1''''''''''''''.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3" name="Rectangle 2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746250" y="3935413"/>
            <a:ext cx="247650" cy="15081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B85A200-D9CC-4371-9203-4AB0DA170419}" type="datetime'''''''''''''''''''1''''''''''''''''''''''5''.''''''0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77800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43E0A5C-B08B-4DA4-B566-7753B7ED8872}" type="datetime'''''''''''''''''''''''''''''''''''''''1''''''.''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344738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B2D63CB-2541-41D6-B1DA-F2B0020BAA8D}" type="datetime'''''16''''''''''''.''''''0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602288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58AA63A-CBAE-4BBF-BA1E-1F5EA204D67C}" type="datetime'''''''''''''''''''''''1''6''''''''''''.''''''''''''''0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962150" y="3935413"/>
            <a:ext cx="247650" cy="150813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84A12EB-57BA-4B40-A116-AFA0A05DFFA7}" type="datetime'''1''''5''''''''''''''''''''''''''''''''.''''''''''''''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2428875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F4EED1B-5AE1-4E7B-B114-F9BDD2BC9D69}" type="datetime'''''''1''.0''''''''''''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253163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9A2340C-49B7-42B8-94B4-4387074973B7}" type="datetime'''''''''''''''1''''6''''.0''''''''''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7" name="Rectangle 2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397125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510D89F-1807-48B1-BAAE-134C04B5D835}" type="datetime'''1''''''''''''5''''''.''''''''''''''''''''''''0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614613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B9FCC6-F457-438C-AEAF-BF8BFDA2306B}" type="datetime'''1''''''5''''''''''''.''''0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64636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6BE6379-027E-451F-8504-009FDDBAA0F4}" type="datetime'''1''''''''''''''''''.''''''''''''''0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364807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187201F-5246-4DD7-B411-C026ED8AEADD}" type="datetime'''''1''''''''''''''''''''''6.''''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394970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0A3BBB3-8855-4478-A91E-8456446512BD}" type="datetime'''''1''''''''''''''.''''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540500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28E515D-8B20-4291-9B53-E64D3C815F2C}" type="datetime'''1''''''''6''''''''''''''''''''.''''''0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32" name="Rectangle 3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048000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3BB7C4E-86DB-4051-9CA9-8CDFAACDE5B6}" type="datetime'''''''''''''1''''''''5.''''''''0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3265488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C86F9D4-F845-4CB6-9C09-C38DBA2E9FF4}" type="datetime'''''''1''''5''''.''''''''''''''''''''''''''0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07975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3B96323-5AE6-435B-830F-1D3C1965AEAE}" type="datetime'''''''''1''''''''.''''''''''''''''''''0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3297238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0F99338-F6C4-4793-BF71-75683EF9A9C4}" type="datetime'''1''''''''''''''''''''''''''.''''''''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205413" y="2393950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5CFBFD8-0822-4D03-9532-7B62FBC46AAF}" type="datetime'1''''''''''''''''''''''''''6''''''''''.''''''0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39" name="Rectangle 38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3700463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83C83B6-D0B2-4334-9B6C-88E1D0BB317B}" type="datetime'''''''''''''''''1''''''''''''''''''''''''''''''''''5.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73221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522AD56-6997-49E0-9A33-C4423A8C7BBE}" type="datetime'''''''1''.''''''''''''''''''''''''''''0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3917950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938B132-A514-4EF4-8E81-9976213B18C3}" type="datetime'''''''''''''''''''''''''''''''''''1''''''''5.''''''''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5" name="Rectangle 1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351338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B505F4C-07FB-4E19-88EC-371F1117FAD4}" type="datetime'''''''''''''''1''''''''''''''''5''''''''.''''''''0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4383088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5A3F9B9-5436-42EC-A775-E44152EE128B}" type="datetime'''''''''''''1''''''''''''''''''.0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568825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FF487C3-FD14-4A8A-A771-DF6459BD35A3}" type="datetime'''''''''1''''5''''''''.''''0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1296988" y="2011363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0AA70C3-2F6F-492C-A1E2-A3C9C0B7D5DF}" type="datetime'''''''''''''''''2''1''''''''''''''.''''''''''''0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1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8726488" y="2789238"/>
            <a:ext cx="250825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3B46333F-B29F-4008-A829-ECE19B01C7FB}" type="datetime'''''''''''''''1''''''''''''.''''''''''''''''''''''''''''''''0'">
              <a:rPr lang="en-US" altLang="en-US" sz="90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1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1791F96F-2CE3-488C-916C-B897DDF14439}" type="datetime'''''''6''''%'''''''''''''''">
              <a:rPr lang="en-US" altLang="en-US" sz="90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6%</a:t>
            </a:fld>
            <a:r>
              <a:rPr 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600575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ECA69CD-3260-42F2-BDB7-C52A9327F0ED}" type="datetime'''''''''''''''''1.''''''''''''''0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1979613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9DD4899-25E7-48BA-B6C3-E3AEF718B084}" type="datetime'''''''''''''1''''6''''''''''''''''''''.''''''''''''0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3" name="Rectangle 12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970463" y="3873500"/>
            <a:ext cx="314325" cy="2730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05F2CDC-0160-4A40-B384-637BC99FC65A}" type="datetime'''''''''''''''1''''''5''''''''.0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D5A97594-C962-45B7-9789-965282053A13}" type="datetime'''9''''''''''''''4''''''''%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4%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41" name="Rectangle 40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5002213" y="2789238"/>
            <a:ext cx="250825" cy="3016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886940F-822C-4370-BCA0-9A7C871E8409}" type="datetime'''''''''''''''''''''''''''''''''1.''''''''0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84A42AAD-9603-4AB4-8664-940EEA8A1612}" type="datetime'''''''''6''''''''''''''''''''''''''%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6%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186363" y="3873500"/>
            <a:ext cx="314325" cy="2730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1CF8F4D-6D63-4DB9-A2EC-CD086C106F8E}" type="datetime'''''''''''''''1''''''''''''5.''''''''''''''''''''''''''0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89F8257A-DCA4-4444-8ED4-315D35BCC4B9}" type="datetime'9''''''''''''''''''''''''4''''''''''%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4%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698976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5593B26-709E-4CDD-B0E7-AA951C4BFC3B}" type="datetime'''1''''''''''''''''''''''''''''''''.''''''''''''''''0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275263" y="2546350"/>
            <a:ext cx="250825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92615FD-CD27-41AE-846F-CE73CC27A432}" type="datetime'''''''''''1''''''''.''''''''''''''''''''''''''''0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ACD33E08-8B37-4985-8BDD-C4CD178C4D80}" type="datetime'''''''''''''''6''''''''''''''''''''''''''''''%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6%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5686425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0B8190E-301A-49D5-8813-F9253481C53B}" type="datetime'''1.''''''''''''''''''0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55" name="Rectangle 54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5654675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00345F4-7330-4372-8EBD-C0386564BA65}" type="datetime'''''''1''''''''''''''''5''''''.''''''0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872163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737424F-1295-4C72-ABA0-0E4C0B7B1C52}" type="datetime'1''''''''''''''''''''''5''''''''''''''''''''''''.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590391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4CFF498-B90F-4D5D-89A2-1E860BA4DE8C}" type="datetime'''''''1''''''''''''.0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1036638" y="3587750"/>
            <a:ext cx="18415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15F4C25D-7559-4C7D-89A6-6ECAE90E334A}" type="datetime'''''''I''C''''''''''''''''''''''''''''''E'''''''''''''''''''">
              <a:rPr lang="en-US" altLang="en-US" sz="1050" b="1" smtClean="0">
                <a:sym typeface="+mn-lt"/>
              </a:rPr>
              <a:pPr algn="r">
                <a:spcAft>
                  <a:spcPct val="0"/>
                </a:spcAft>
              </a:pPr>
              <a:t>ICE</a:t>
            </a:fld>
            <a:endParaRPr lang="en-US" sz="1050" b="1" dirty="0" smtClean="0">
              <a:sym typeface="+mn-lt"/>
            </a:endParaRPr>
          </a:p>
        </p:txBody>
      </p:sp>
      <p:sp useBgFill="1">
        <p:nvSpPr>
          <p:cNvPr id="33" name="Rectangle 32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6305550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A146A3F-98B2-4653-846B-AD33FBE20FCF}" type="datetime'''''''1''''''5''''''''''''''''''.''''''''0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20566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6E1A0B9-06E4-4959-B847-B0B888A38986}" type="datetime'''''''1''''''.''''''''''''''''''''0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633730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7B35667-4069-42C9-90EA-CF08BC4B7764}" type="datetime'1''''''.''''''''''''''''''0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2995613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C0C3D48-AD3F-43C9-B71D-81DE409D6915}" type="datetime'1''''''6''''''''''''''''''''''.''''''''''''''''0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6554788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FAECD8B-E3D5-4ADA-AA4A-1B2DFBA12275}" type="datetime'''''''''''''''''1''''''''''''''''''.''''''''''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7826375" y="3935413"/>
            <a:ext cx="247650" cy="150813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E763223-961C-4FFF-9290-C2E8F3D502C5}" type="datetime'''''''''''''''''''''''''1''''''''''''5''.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40" name="Rectangle 39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6958013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12CA050-97C4-41D8-ADE8-82869C664434}" type="datetime'1''''''''''''''''5''''''''''''''''''''.0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4298950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DA3CD96-370D-4EE5-9C58-5FF174197238}" type="datetime'''''''''''''''1''''''''6''.''0''''''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7173913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7E948CF-B3F6-4BB7-A412-0876EA1A7E26}" type="datetime'''''''1''5''''''''''''.''0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8258175" y="2546350"/>
            <a:ext cx="250825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EF7C99C-F753-49EB-B304-8A70850BFACE}" type="datetime'1''''''''''''''''''''''.''''''''''''''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153FAB2C-0BC3-4540-B7B2-0ED0DCBC8B48}" type="datetime'''''''''''''''6''''''''''''%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6%</a:t>
            </a:fld>
            <a:r>
              <a:rPr 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62" name="Rectangle 61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7608888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A9EFBF3-FE45-4E03-BF6A-E81F6160CD3E}" type="datetime'1''''5''''''''.''''''''''''''''''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7640638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6D2DFF6-1C93-4754-BF97-43C9A2D62E90}" type="datetime'''''''''''''1''''''''''''''''''''.''''''''''''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263207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7FEAEF7-8EB6-4521-81F0-A2663C56E920}" type="datetime'''''''''''''1''''6.''''''0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96" name="Rectangle 95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8226425" y="3859213"/>
            <a:ext cx="314325" cy="3016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E290E8C-54CD-43B6-BB51-AAA003E42DFC}" type="datetime'''''''1''''''''''''''''''''''''''5''''''.''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043CE407-C55C-49E5-ACAD-DED8E4ADD4AC}" type="datetime'''''''''''''''''''''''94''''''''''''''%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94%</a:t>
            </a:fld>
            <a:r>
              <a:rPr lang="en-US" sz="900" noProof="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494982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E11B893-7E0E-460C-BF06-33B85DDFFD3D}" type="datetime'''''''''''''1''''''6''''''''''''''''''''.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8443913" y="3859213"/>
            <a:ext cx="314325" cy="3016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A1263E2-530D-42EC-9C91-FD3835B04D32}" type="datetime'1''''5''''''''''''''.''''''''''''''''''''''''''0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398B6C78-AC4F-4F0A-B6D9-DDCCF86B090A}" type="datetime'''''''''''''''''''''''''''''9''''''''''''''''''4''''%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94%</a:t>
            </a:fld>
            <a:r>
              <a:rPr lang="en-US" sz="900" noProof="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973138" y="2205038"/>
            <a:ext cx="24765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E7373453-A6ED-4E7A-B92C-07A6706BCD25}" type="datetime'''''''''''''''''''''''''''''N''''''''''''E''''''''''V'''''">
              <a:rPr lang="en-US" altLang="en-US" sz="1050" b="1" smtClean="0">
                <a:sym typeface="+mn-lt"/>
              </a:rPr>
              <a:pPr algn="r">
                <a:spcAft>
                  <a:spcPct val="0"/>
                </a:spcAft>
              </a:pPr>
              <a:t>NEV</a:t>
            </a:fld>
            <a:endParaRPr lang="en-US" sz="1050" b="1" dirty="0" smtClean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3282950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E700A62-AE66-4B00-8353-C22F506B6A55}" type="datetime'''''''''''''''''''''16''''''''''''''''.''''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3935413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0D3E0B1-1296-4A86-9799-6B061149DFB5}" type="datetime'''1''6''''''''''''''''''''''''.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4586288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7220DE0-4BEE-457D-9A71-73E58EDDE3C1}" type="datetime'''''''''''''1''''''''''''''''6''''''''''''''''''.''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588962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6906727-C6D2-4715-9EFD-27662D22019F}" type="datetime'''''''''''''16''''''''.''0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7858125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ED80440-36D5-4DE4-B08F-8CCAC32351E3}" type="datetime'''''''''''''''''''''''1''''''''''''.''''''''''0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719137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C803C15-F647-479A-86CA-EDB32F6AE0F8}" type="datetime'''''1''6''''''''''''''''''.''''''''''0''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7556500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82F532E-355C-4168-975D-FAE2ADD3A045}" type="datetime'''''''''1''''6''''.''''''''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7843838" y="2620963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9B4699D-6141-4FA6-AE86-62CC7AAB546D}" type="datetime'''''''''''''''16''''''''.''''''''''''''''''''''''0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8245475" y="237807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D01B72D-1217-4A7B-9CEE-68DA89DAEA58}" type="datetime'''''''''''''''1''''''''6.''''''''''''0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8501063" y="2620963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0B5EB0-090F-4BF5-A5E2-C44C8F098A41}" type="datetime'''''''''1''6''.''''''''''''''''''0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gray">
          <a:xfrm>
            <a:off x="1343025" y="219710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218CDD5-122E-43B4-AD9C-98235C4842E6}" type="datetime'''1''''''.''''''''''''''''''''''''''''''''''''''''''''''0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169227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4AE03F2-9057-485F-B0BF-7638A792DA1C}" type="datetime'''1''''''''6''.''''''0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6523038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46EAC09-68EA-4A70-B122-EC17200FB7CB}" type="datetime'''''''''''''''''15''''''''''''''''''''.''''''''''''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gray">
          <a:xfrm>
            <a:off x="6904038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88E7F7C-C729-4A2E-BD95-36AC47D22970}" type="datetime'''''''''''1''''''''''6''''''.''''''''''''0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/>
          </p:nvPr>
        </p:nvGraphicFramePr>
        <p:xfrm>
          <a:off x="457201" y="5076825"/>
          <a:ext cx="8878522" cy="905730"/>
        </p:xfrm>
        <a:graphic>
          <a:graphicData uri="http://schemas.openxmlformats.org/drawingml/2006/table">
            <a:tbl>
              <a:tblPr firstRow="1" bandRow="1"/>
              <a:tblGrid>
                <a:gridCol w="4615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5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4260485645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4267549487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20869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. PR69 SP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19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1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2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3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4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5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6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7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8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9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30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-2025 </a:t>
                      </a:r>
                      <a:r>
                        <a:rPr lang="en-US" sz="1000" b="0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∑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.0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2.0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208915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V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.0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C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3" name="Group 82"/>
          <p:cNvGrpSpPr/>
          <p:nvPr/>
        </p:nvGrpSpPr>
        <p:grpSpPr>
          <a:xfrm>
            <a:off x="1336398" y="2166373"/>
            <a:ext cx="1047924" cy="443269"/>
            <a:chOff x="1207715" y="2012752"/>
            <a:chExt cx="1047924" cy="443269"/>
          </a:xfrm>
        </p:grpSpPr>
        <p:sp>
          <p:nvSpPr>
            <p:cNvPr id="84" name="Rectangle 83"/>
            <p:cNvSpPr/>
            <p:nvPr/>
          </p:nvSpPr>
          <p:spPr bwMode="auto">
            <a:xfrm>
              <a:off x="1207715" y="2093913"/>
              <a:ext cx="123825" cy="813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674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3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5" name="Rectangle 84"/>
            <p:cNvSpPr/>
            <p:nvPr/>
          </p:nvSpPr>
          <p:spPr bwMode="auto">
            <a:xfrm>
              <a:off x="1207715" y="2292350"/>
              <a:ext cx="123825" cy="81384"/>
            </a:xfrm>
            <a:prstGeom prst="rect">
              <a:avLst/>
            </a:prstGeom>
            <a:solidFill>
              <a:srgbClr val="C6DFE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674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3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6" name="Rectangle 85"/>
            <p:cNvSpPr/>
            <p:nvPr/>
          </p:nvSpPr>
          <p:spPr bwMode="auto">
            <a:xfrm>
              <a:off x="1390278" y="2292350"/>
              <a:ext cx="123825" cy="8138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674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3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1507653" y="2012752"/>
              <a:ext cx="747986" cy="254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VWAG TheSans" panose="020B0502050302020203" pitchFamily="34" charset="0"/>
                  <a:cs typeface="Arial" panose="020B0604020202020204" pitchFamily="34" charset="0"/>
                </a:rPr>
                <a:t>PR 69 SP </a:t>
              </a:r>
              <a:endParaRPr lang="en-US" sz="1000" dirty="0">
                <a:latin typeface="VWAG TheSans" panose="020B0502050302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1507653" y="2201664"/>
              <a:ext cx="743768" cy="254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VWAG TheSans" panose="020B0502050302020203" pitchFamily="34" charset="0"/>
                  <a:cs typeface="Arial" panose="020B0604020202020204" pitchFamily="34" charset="0"/>
                </a:rPr>
                <a:t>PR </a:t>
              </a:r>
              <a:r>
                <a:rPr lang="en-US" sz="1000" dirty="0" smtClean="0">
                  <a:latin typeface="VWAG TheSans" panose="020B0502050302020203" pitchFamily="34" charset="0"/>
                  <a:cs typeface="Arial" panose="020B0604020202020204" pitchFamily="34" charset="0"/>
                </a:rPr>
                <a:t>69 OP</a:t>
              </a:r>
              <a:endParaRPr lang="en-US" sz="1000" dirty="0">
                <a:latin typeface="VWAG TheSans" panose="020B0502050302020203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3" name="TextBox 92"/>
          <p:cNvSpPr txBox="1"/>
          <p:nvPr/>
        </p:nvSpPr>
        <p:spPr>
          <a:xfrm>
            <a:off x="568405" y="2220354"/>
            <a:ext cx="715384" cy="338554"/>
          </a:xfrm>
          <a:prstGeom prst="rect">
            <a:avLst/>
          </a:prstGeom>
          <a:solidFill>
            <a:schemeClr val="bg1"/>
          </a:solidFill>
        </p:spPr>
        <p:txBody>
          <a:bodyPr wrap="none" rIns="36000" rtlCol="0">
            <a:spAutoFit/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VWAG TheSans" panose="020B0502050302020203" pitchFamily="34" charset="0"/>
                <a:cs typeface="Arial" panose="020B0604020202020204" pitchFamily="34" charset="0"/>
              </a:rPr>
              <a:t>Mio. units</a:t>
            </a:r>
            <a:r>
              <a:rPr lang="en-US" sz="1000" dirty="0">
                <a:solidFill>
                  <a:srgbClr val="000000"/>
                </a:solidFill>
                <a:latin typeface="VWAG TheSans" panose="020B0502050302020203" pitchFamily="34" charset="0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VWAG TheSans" panose="020B0502050302020203" pitchFamily="34" charset="0"/>
                <a:cs typeface="Arial" panose="020B0604020202020204" pitchFamily="34" charset="0"/>
              </a:rPr>
              <a:t>(% share)</a:t>
            </a:r>
          </a:p>
        </p:txBody>
      </p:sp>
      <p:sp>
        <p:nvSpPr>
          <p:cNvPr id="91" name="Up Arrow 90"/>
          <p:cNvSpPr/>
          <p:nvPr/>
        </p:nvSpPr>
        <p:spPr bwMode="auto">
          <a:xfrm flipV="1">
            <a:off x="1009319" y="5622172"/>
            <a:ext cx="129331" cy="125454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77" name="Up Arrow 176"/>
          <p:cNvSpPr/>
          <p:nvPr/>
        </p:nvSpPr>
        <p:spPr bwMode="auto">
          <a:xfrm flipV="1">
            <a:off x="1009319" y="5429790"/>
            <a:ext cx="129331" cy="125454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38938" y="6207125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</a:t>
            </a:r>
            <a:r>
              <a:rPr lang="fr-FR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69 OP and PR69 SP</a:t>
            </a:r>
            <a:endParaRPr lang="fr-FR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  <p:sp>
        <p:nvSpPr>
          <p:cNvPr id="118" name="Down Arrow 117"/>
          <p:cNvSpPr/>
          <p:nvPr/>
        </p:nvSpPr>
        <p:spPr bwMode="auto">
          <a:xfrm flipV="1">
            <a:off x="1009319" y="5818146"/>
            <a:ext cx="128588" cy="125454"/>
          </a:xfrm>
          <a:prstGeom prst="downArrow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2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94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300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74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olkswagen Group China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W Brand Passenger Car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33" name="Rectangle 4"/>
          <p:cNvSpPr>
            <a:spLocks noChangeArrowheads="1"/>
          </p:cNvSpPr>
          <p:nvPr/>
        </p:nvSpPr>
        <p:spPr bwMode="auto">
          <a:xfrm>
            <a:off x="411132" y="4126056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5</a:t>
            </a:r>
          </a:p>
        </p:txBody>
      </p: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411132" y="4717894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6</a:t>
            </a: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auto">
          <a:xfrm>
            <a:off x="411132" y="530973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7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Jetta Brand 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1012175" y="4126056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 </a:t>
            </a:r>
            <a:r>
              <a:rPr lang="en-US" altLang="zh-CN" sz="1800" b="1" dirty="0" err="1">
                <a:solidFill>
                  <a:srgbClr val="FFFFFF"/>
                </a:solidFill>
                <a:latin typeface="VWAG TheSans"/>
                <a:sym typeface="VWAG TheSans"/>
              </a:rPr>
              <a:t>Cupra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 Brand 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1012175" y="4717894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Audi Brand</a:t>
            </a: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1012175" y="530973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Skoda Brand</a:t>
            </a:r>
          </a:p>
        </p:txBody>
      </p:sp>
    </p:spTree>
    <p:extLst>
      <p:ext uri="{BB962C8B-B14F-4D97-AF65-F5344CB8AC3E}">
        <p14:creationId xmlns:p14="http://schemas.microsoft.com/office/powerpoint/2010/main" val="279082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965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VWAG TheSans" panose="020B0502050302020203" pitchFamily="34" charset="0"/>
              </a:rPr>
              <a:t>Volkswagen </a:t>
            </a:r>
            <a:r>
              <a:rPr lang="en-US" dirty="0" smtClean="0">
                <a:sym typeface="VWAG TheSans" panose="020B0502050302020203" pitchFamily="34" charset="0"/>
              </a:rPr>
              <a:t>Brand Cycle Plan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84581" y="1571708"/>
          <a:ext cx="9111844" cy="439785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555537">
                  <a:extLst>
                    <a:ext uri="{9D8B030D-6E8A-4147-A177-3AD203B41FA5}">
                      <a16:colId xmlns:a16="http://schemas.microsoft.com/office/drawing/2014/main" val="806253177"/>
                    </a:ext>
                  </a:extLst>
                </a:gridCol>
                <a:gridCol w="1791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3604">
                  <a:extLst>
                    <a:ext uri="{9D8B030D-6E8A-4147-A177-3AD203B41FA5}">
                      <a16:colId xmlns:a16="http://schemas.microsoft.com/office/drawing/2014/main" val="3404441349"/>
                    </a:ext>
                  </a:extLst>
                </a:gridCol>
                <a:gridCol w="16736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7428">
                  <a:extLst>
                    <a:ext uri="{9D8B030D-6E8A-4147-A177-3AD203B41FA5}">
                      <a16:colId xmlns:a16="http://schemas.microsoft.com/office/drawing/2014/main" val="365394444"/>
                    </a:ext>
                  </a:extLst>
                </a:gridCol>
              </a:tblGrid>
              <a:tr h="3040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 of Chan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 / JV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S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O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emarks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68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w Project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 Entry NB/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S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un-2023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hift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from Skoda Brand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9841">
                <a:tc vMerge="1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rgbClr val="026F4E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0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</a:t>
                      </a:r>
                      <a:r>
                        <a:rPr lang="en-US" sz="1000" b="0" baseline="0" dirty="0" err="1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UVe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/CM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baseline="0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an-2025</a:t>
                      </a:r>
                      <a:endParaRPr lang="en-US" sz="1000" b="0" i="0" u="none" strike="noStrike" dirty="0" smtClean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hift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from Cupra Brand. </a:t>
                      </a:r>
                    </a:p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n CP69.SP, SOP: Jun 2024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5086917"/>
                  </a:ext>
                </a:extLst>
              </a:tr>
              <a:tr h="276688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</a:t>
                      </a: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inus </a:t>
                      </a:r>
                      <a:r>
                        <a:rPr lang="en-US" sz="1000" baseline="0" dirty="0" err="1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UVe</a:t>
                      </a: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/ CN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ar-2023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Sep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6 months delay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47842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ero B/ CN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ar-2022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Mar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2 months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643353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B SMV/ CN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Nov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Feb-2021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 months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61651012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ero B/ CS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2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i="0" u="none" strike="noStrike" baseline="0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</a:t>
                      </a: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9 months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3018899"/>
                  </a:ext>
                </a:extLst>
              </a:tr>
              <a:tr h="73840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 Entry NB BEV/CM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3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i="0" u="none" strike="noStrike" baseline="0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</a:t>
                      </a: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2025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6289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n CP69.SP, Named ”A Small NB BEV”</a:t>
                      </a:r>
                    </a:p>
                    <a:p>
                      <a:pPr marL="26289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Change from White Cloud to Green Cloud</a:t>
                      </a:r>
                    </a:p>
                    <a:p>
                      <a:pPr marL="26289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1 months delay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375853"/>
                  </a:ext>
                </a:extLst>
              </a:tr>
              <a:tr h="276688">
                <a:tc rowSpan="5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 Pull Ahead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ayron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Coupe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o EOP planned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pr-2025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5 year volume loss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9472998"/>
                  </a:ext>
                </a:extLst>
              </a:tr>
              <a:tr h="276688">
                <a:tc vMerge="1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Golf SV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1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1229452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Gran </a:t>
                      </a:r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Lavid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Feb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4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11001884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algn="l"/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eramont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X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o EOP planned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Nov-2025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5 year volume loss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800530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algn="l"/>
                      <a:r>
                        <a:rPr lang="en-US" sz="100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hideon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ug-2023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3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5183093"/>
                  </a:ext>
                </a:extLst>
              </a:tr>
              <a:tr h="276688"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EOP Extension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algn="l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antan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Oct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 months  Extension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759103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Green front refers to NEV products; </a:t>
            </a:r>
            <a:r>
              <a:rPr lang="en-US" sz="800" dirty="0">
                <a:latin typeface="+mj-lt"/>
              </a:rPr>
              <a:t>Major changes of model cycle plan were considered</a:t>
            </a:r>
          </a:p>
        </p:txBody>
      </p:sp>
      <p:sp>
        <p:nvSpPr>
          <p:cNvPr id="6" name="Up Arrow 5"/>
          <p:cNvSpPr/>
          <p:nvPr/>
        </p:nvSpPr>
        <p:spPr bwMode="auto">
          <a:xfrm>
            <a:off x="1622066" y="2088484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Up Arrow 10"/>
          <p:cNvSpPr/>
          <p:nvPr/>
        </p:nvSpPr>
        <p:spPr bwMode="auto">
          <a:xfrm flipV="1">
            <a:off x="1622066" y="3311659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3" name="Up Arrow 12"/>
          <p:cNvSpPr/>
          <p:nvPr/>
        </p:nvSpPr>
        <p:spPr bwMode="auto">
          <a:xfrm flipV="1">
            <a:off x="1622066" y="4903247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4" name="Up Arrow 13"/>
          <p:cNvSpPr/>
          <p:nvPr/>
        </p:nvSpPr>
        <p:spPr bwMode="auto">
          <a:xfrm>
            <a:off x="1622066" y="5739458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66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821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6359" name="think-cell Slide" r:id="rId39" imgW="470" imgH="469" progId="TCLayout.ActiveDocument.1">
                  <p:embed/>
                </p:oleObj>
              </mc:Choice>
              <mc:Fallback>
                <p:oleObj name="think-cell Slide" r:id="rId39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  <a:defRPr/>
            </a:pPr>
            <a:endParaRPr kumimoji="0" lang="en-US" sz="1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pra Brand PR69.OP </a:t>
            </a:r>
            <a:r>
              <a:rPr lang="en-US" dirty="0"/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graphicFrame>
        <p:nvGraphicFramePr>
          <p:cNvPr id="55" name="Chart 54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17063504"/>
              </p:ext>
            </p:extLst>
          </p:nvPr>
        </p:nvGraphicFramePr>
        <p:xfrm>
          <a:off x="1147763" y="2652713"/>
          <a:ext cx="8431212" cy="3121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34" name="Rectangle 3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178300" y="39814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781B94F-2B2D-4C51-8500-01F732A81672}" type="datetime'''''0''''''''''''''''''''''.''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457325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20ADE8-9339-4367-A7B5-05721C20C669}" type="datetime'''''2''''''''''''''''''0''''''''''''''''''''1''''''''''9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835275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C227A6-A41C-4528-88E8-D7DDAA106CC7}" type="datetime'''''''''''''''''''''2''''''''''''''''0''''''''2''''''''''1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6932613" y="31369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D9BD4B6-9BE3-48FF-A4F6-EFE0A84E130E}" type="datetime'0''''''''''''''''''''''''''''''.''''''''''''''''''4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4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146300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452547-61A6-4E46-91CA-A63371423982}" type="datetime'2''''''0''''''''2''''''''''''''''''''0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213225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3049D8-BAF7-4370-ACEB-3F8F6265BD82}" type="datetime'''''''''2''''''''''0''''''''''''''''''2''''''''''3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524250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7023C5-829F-4805-B923-5672153B9755}" type="datetime'''''''''''''''2''''''''''''0''''''''''''''''''''''''2''2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4867275" y="37703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766AE92-C2D8-49B6-9858-3410273EC1B8}" type="datetime'''''''''''''''''''''''''''0''''''''.''''''''''''''''1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4902200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F3CCD4-3BA8-4FB5-BE23-76A7F9A3F63E}" type="datetime'''''''''''''2''''''''''''0''''2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5554663" y="35591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D5B4B6E-8405-4AEC-A8F5-830031CFBDF3}" type="datetime'''''''''''''''''''''''0''''''''''''''''''''.''2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2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589588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B955E8-DE78-4CAE-AF77-F687F501E968}" type="datetime'''''''''''''''''''''2''''''''''''''0''''''2''''5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8375650" y="4824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E29C357-90BF-455A-B70C-97027F60F990}" type="datetime'''''''''''''''''7''''''''''''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7621588" y="29257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76BC7E1-BEA4-4D73-9244-9AB1DEB00AC1}" type="datetime'''''0''''''.''''''''5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5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243638" y="33480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002DFF5-7A40-4F5D-8FF1-53D9654C5B01}" type="datetime'''''''''''''''''''''''''0''''''''''''''''''''.''''''''3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3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6278563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7C662A-8396-4AB6-BA4F-83118A3BE854}" type="datetime'''''2''''''''''''''''0''''''''''''''''2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967538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36A238-F014-4DCD-B76E-992286F4F6AB}" type="datetime'''20''''''''''''''27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656513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638F85-5364-4492-AA07-E5872AA99943}" type="datetime'''''''''''2''''''0''''''''''2''''''8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8310563" y="271462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56B448A-FA95-4488-8D01-72F5ECF0AE99}" type="datetime'''''''0''''''''''''''''.''''''''''''''''''6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8345488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D98A82-F53A-48EC-94E3-8BB20E29B620}" type="datetime'''''''2''''''0''''''''''''''''''''''''''''''2''''9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308725" y="51196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CA03274-720D-4037-AC2E-11FB7AF09CDE}" type="datetime'''''''''''4''''''''''''''''''''''''0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999538" y="25034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4BCAC2F-3279-48EF-81FC-9BEFBBB3141D}" type="datetime'''''''0''''''''.''''''''''7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7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9034463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0427FB-3C8A-4011-B704-14A214B04D85}" type="datetime'''''''''''2''''''''''''0''''3''''''''''''''''0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4278313" y="550386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25013FA-8089-4C8D-A35B-D9B579177021}" type="datetime'''''''''''1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686675" y="49228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59784FA-5573-45AE-8889-9D6E069020E8}" type="datetime'''''''''''''''''''6''''0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4932363" y="53165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52FB638-18ED-4E8E-BD55-9EDA05A9DCC2}" type="datetime'''''''''''''2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5619750" y="5218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30149D9-B7E7-4B21-84BB-51065237307A}" type="datetime'''''''''''3''''''''''''''''''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6997700" y="50212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9AC16FA-95D7-4845-8B2C-7625E99FC502}" type="datetime'''''''''''''''''''5''''''''''''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9064625" y="47244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C7C1108-F4E5-4286-8D98-AF78E40C0201}" type="datetime'''''8''0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33"/>
            </p:custDataLst>
          </p:nvPr>
        </p:nvCxnSpPr>
        <p:spPr bwMode="auto">
          <a:xfrm>
            <a:off x="446088" y="35941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Rectangle 69"/>
          <p:cNvSpPr/>
          <p:nvPr>
            <p:custDataLst>
              <p:tags r:id="rId34"/>
            </p:custDataLst>
          </p:nvPr>
        </p:nvSpPr>
        <p:spPr bwMode="auto">
          <a:xfrm>
            <a:off x="476250" y="3714750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2" name="Oval 71"/>
          <p:cNvSpPr/>
          <p:nvPr>
            <p:custDataLst>
              <p:tags r:id="rId35"/>
            </p:custDataLst>
          </p:nvPr>
        </p:nvSpPr>
        <p:spPr bwMode="auto">
          <a:xfrm>
            <a:off x="492125" y="35687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669925" y="3536950"/>
            <a:ext cx="2206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5BD2E8FE-A9FD-4407-84F9-05A447786B98}" type="datetime'''''''''''''''''T''''''''''''M''''%'''''">
              <a:rPr lang="en-US" altLang="en-US" sz="8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TM%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669925" y="37099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744EC7-2293-473F-97E3-06C8268B9D19}" type="datetime'''''''''''''N''''''''''''E''''''''V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0402830"/>
              </p:ext>
            </p:extLst>
          </p:nvPr>
        </p:nvGraphicFramePr>
        <p:xfrm>
          <a:off x="392113" y="5731459"/>
          <a:ext cx="9122228" cy="457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</a:rPr>
                        <a:t>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/>
                        <a:t>NEV MKT%</a:t>
                      </a:r>
                      <a:endParaRPr lang="en-US" sz="900" b="1" dirty="0">
                        <a:latin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93795" y="3018339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49386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256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0682" name="think-cell Slide" r:id="rId33" imgW="470" imgH="469" progId="TCLayout.ActiveDocument.1">
                  <p:embed/>
                </p:oleObj>
              </mc:Choice>
              <mc:Fallback>
                <p:oleObj name="think-cell Slide" r:id="rId33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2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etta</a:t>
            </a:r>
            <a:r>
              <a:rPr lang="en-US" dirty="0" smtClean="0"/>
              <a:t> </a:t>
            </a:r>
            <a:r>
              <a:rPr lang="en-US" dirty="0"/>
              <a:t>Brand (CKD &amp; FBU) PR69.OP </a:t>
            </a:r>
            <a:r>
              <a:rPr lang="en-US" dirty="0" smtClean="0"/>
              <a:t>vs. PR69.SP</a:t>
            </a:r>
            <a:r>
              <a:rPr lang="en-US" dirty="0" smtClean="0">
                <a:sym typeface="VWAG TheSans"/>
              </a:rPr>
              <a:t> </a:t>
            </a:r>
            <a:r>
              <a:rPr lang="en-US" dirty="0">
                <a:sym typeface="VWAG TheSans"/>
              </a:rPr>
              <a:t>- Acc. </a:t>
            </a:r>
            <a:r>
              <a:rPr lang="en-US" dirty="0" smtClean="0">
                <a:sym typeface="VWAG TheSans"/>
              </a:rPr>
              <a:t>Volumes (2020-2030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>
            <p:custDataLst>
              <p:tags r:id="rId4"/>
            </p:custDataLst>
          </p:nvPr>
        </p:nvCxnSpPr>
        <p:spPr bwMode="auto">
          <a:xfrm>
            <a:off x="7426325" y="21351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5"/>
            </p:custDataLst>
          </p:nvPr>
        </p:nvCxnSpPr>
        <p:spPr bwMode="auto">
          <a:xfrm>
            <a:off x="4481513" y="24653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6"/>
            </p:custDataLst>
          </p:nvPr>
        </p:nvCxnSpPr>
        <p:spPr bwMode="auto">
          <a:xfrm>
            <a:off x="1536700" y="2794000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7"/>
            </p:custDataLst>
          </p:nvPr>
        </p:nvCxnSpPr>
        <p:spPr bwMode="auto">
          <a:xfrm>
            <a:off x="3009900" y="3124200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8"/>
            </p:custDataLst>
          </p:nvPr>
        </p:nvCxnSpPr>
        <p:spPr bwMode="auto">
          <a:xfrm>
            <a:off x="5953125" y="2794000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2" name="Chart 51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46771899"/>
              </p:ext>
            </p:extLst>
          </p:nvPr>
        </p:nvGraphicFramePr>
        <p:xfrm>
          <a:off x="309563" y="2052638"/>
          <a:ext cx="8997950" cy="291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 useBgFill="1">
        <p:nvSpPr>
          <p:cNvPr id="15" name="Freeform 14"/>
          <p:cNvSpPr/>
          <p:nvPr>
            <p:custDataLst>
              <p:tags r:id="rId10"/>
            </p:custDataLst>
          </p:nvPr>
        </p:nvSpPr>
        <p:spPr bwMode="auto">
          <a:xfrm>
            <a:off x="8034338" y="3852863"/>
            <a:ext cx="909638" cy="301626"/>
          </a:xfrm>
          <a:custGeom>
            <a:avLst/>
            <a:gdLst/>
            <a:ahLst/>
            <a:cxnLst/>
            <a:rect l="0" t="0" r="0" b="0"/>
            <a:pathLst>
              <a:path w="909638" h="301626">
                <a:moveTo>
                  <a:pt x="0" y="244475"/>
                </a:moveTo>
                <a:lnTo>
                  <a:pt x="909637" y="0"/>
                </a:lnTo>
                <a:lnTo>
                  <a:pt x="909637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2" name="Freeform 11"/>
          <p:cNvSpPr/>
          <p:nvPr>
            <p:custDataLst>
              <p:tags r:id="rId11"/>
            </p:custDataLst>
          </p:nvPr>
        </p:nvSpPr>
        <p:spPr bwMode="auto">
          <a:xfrm>
            <a:off x="673100" y="3852863"/>
            <a:ext cx="909639" cy="301626"/>
          </a:xfrm>
          <a:custGeom>
            <a:avLst/>
            <a:gdLst/>
            <a:ahLst/>
            <a:cxnLst/>
            <a:rect l="0" t="0" r="0" b="0"/>
            <a:pathLst>
              <a:path w="909639" h="301626">
                <a:moveTo>
                  <a:pt x="0" y="244475"/>
                </a:moveTo>
                <a:lnTo>
                  <a:pt x="909638" y="0"/>
                </a:lnTo>
                <a:lnTo>
                  <a:pt x="909638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2"/>
            </p:custDataLst>
          </p:nvPr>
        </p:nvSpPr>
        <p:spPr bwMode="auto">
          <a:xfrm>
            <a:off x="8034338" y="3910013"/>
            <a:ext cx="909638" cy="244476"/>
          </a:xfrm>
          <a:custGeom>
            <a:avLst/>
            <a:gdLst/>
            <a:ahLst/>
            <a:cxnLst/>
            <a:rect l="0" t="0" r="0" b="0"/>
            <a:pathLst>
              <a:path w="909638" h="244476">
                <a:moveTo>
                  <a:pt x="0" y="244475"/>
                </a:moveTo>
                <a:lnTo>
                  <a:pt x="9096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3"/>
            </p:custDataLst>
          </p:nvPr>
        </p:nvSpPr>
        <p:spPr bwMode="auto">
          <a:xfrm>
            <a:off x="8034338" y="3852863"/>
            <a:ext cx="909638" cy="244476"/>
          </a:xfrm>
          <a:custGeom>
            <a:avLst/>
            <a:gdLst/>
            <a:ahLst/>
            <a:cxnLst/>
            <a:rect l="0" t="0" r="0" b="0"/>
            <a:pathLst>
              <a:path w="909638" h="244476">
                <a:moveTo>
                  <a:pt x="0" y="244475"/>
                </a:moveTo>
                <a:lnTo>
                  <a:pt x="9096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4"/>
            </p:custDataLst>
          </p:nvPr>
        </p:nvSpPr>
        <p:spPr bwMode="auto">
          <a:xfrm>
            <a:off x="673100" y="3852863"/>
            <a:ext cx="909639" cy="244476"/>
          </a:xfrm>
          <a:custGeom>
            <a:avLst/>
            <a:gdLst/>
            <a:ahLst/>
            <a:cxnLst/>
            <a:rect l="0" t="0" r="0" b="0"/>
            <a:pathLst>
              <a:path w="909639" h="244476">
                <a:moveTo>
                  <a:pt x="0" y="244475"/>
                </a:moveTo>
                <a:lnTo>
                  <a:pt x="9096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5"/>
            </p:custDataLst>
          </p:nvPr>
        </p:nvSpPr>
        <p:spPr bwMode="auto">
          <a:xfrm>
            <a:off x="673100" y="3910013"/>
            <a:ext cx="909639" cy="244476"/>
          </a:xfrm>
          <a:custGeom>
            <a:avLst/>
            <a:gdLst/>
            <a:ahLst/>
            <a:cxnLst/>
            <a:rect l="0" t="0" r="0" b="0"/>
            <a:pathLst>
              <a:path w="909639" h="244476">
                <a:moveTo>
                  <a:pt x="0" y="244475"/>
                </a:moveTo>
                <a:lnTo>
                  <a:pt x="9096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0" name="Straight Connector 19"/>
          <p:cNvCxnSpPr/>
          <p:nvPr>
            <p:custDataLst>
              <p:tags r:id="rId16"/>
            </p:custDataLst>
          </p:nvPr>
        </p:nvCxnSpPr>
        <p:spPr bwMode="auto">
          <a:xfrm>
            <a:off x="8488363" y="1717675"/>
            <a:ext cx="0" cy="1524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17"/>
            </p:custDataLst>
          </p:nvPr>
        </p:nvCxnSpPr>
        <p:spPr bwMode="auto">
          <a:xfrm flipV="1">
            <a:off x="1127125" y="1717676"/>
            <a:ext cx="0" cy="8112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8"/>
            </p:custDataLst>
          </p:nvPr>
        </p:nvCxnSpPr>
        <p:spPr bwMode="auto">
          <a:xfrm>
            <a:off x="1127125" y="1717675"/>
            <a:ext cx="73612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tangle 91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389188" y="27908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697B631-9EFC-40C9-957F-014C02A01863}" type="datetime'-''''''''''''10''''''''''''''''''''''''''''''''''''0'''">
              <a:rPr lang="en-US" altLang="en-US" sz="1000" b="1" smtClean="0">
                <a:solidFill>
                  <a:schemeClr val="bg1"/>
                </a:solidFill>
              </a:rPr>
              <a:pPr lvl="0" algn="ctr">
                <a:spcAft>
                  <a:spcPct val="0"/>
                </a:spcAft>
                <a:defRPr/>
              </a:pPr>
              <a:t>-100</a:t>
            </a:fld>
            <a:endParaRPr lang="en-US" altLang="en-US" sz="1000" b="1" dirty="0" smtClean="0">
              <a:solidFill>
                <a:schemeClr val="bg1"/>
              </a:solidFill>
              <a:latin typeface="+mn-lt"/>
              <a:sym typeface="+mn-lt"/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strike="noStrike" kern="120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sym typeface="+mn-lt"/>
              </a:rPr>
              <a:t>(-1.3%)</a:t>
            </a:r>
            <a:endParaRPr kumimoji="0" lang="en-US" altLang="en-US" sz="1000" b="1" strike="noStrike" kern="1200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657975" y="4926013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69925" y="4926013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3676650" y="4926013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791325" y="2295525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79F478A-4CDA-40BA-9AC4-1A1DBE11651F}" type="datetime'''''''''2''00'''''''''''''''''''''''">
              <a:rPr lang="en-US" altLang="en-US" sz="1000" b="1" smtClean="0"/>
              <a:pPr lvl="0" algn="ctr">
                <a:spcAft>
                  <a:spcPct val="0"/>
                </a:spcAft>
                <a:defRPr/>
              </a:pPr>
              <a:t>200</a:t>
            </a:fld>
            <a:endParaRPr lang="en-US" altLang="en-US" sz="1000" b="1" dirty="0" smtClean="0"/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strike="noStrike" kern="1200" spc="0" normalizeH="0" noProof="0" dirty="0" smtClean="0">
                <a:ln>
                  <a:noFill/>
                </a:ln>
                <a:effectLst/>
                <a:uLnTx/>
                <a:uFillTx/>
                <a:latin typeface="VWAG TheSans"/>
                <a:sym typeface="+mj-lt"/>
              </a:rPr>
              <a:t>(+1.0%)</a:t>
            </a:r>
            <a:endParaRPr kumimoji="0" lang="en-US" altLang="en-US" sz="1000" b="1" i="0" strike="noStrike" kern="1200" spc="0" normalizeH="0" noProof="0" dirty="0">
              <a:ln>
                <a:noFill/>
              </a:ln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2062164" y="4926013"/>
            <a:ext cx="10763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0EBE95D-03E3-4B7D-A245-A40EF7D22D34}" type="datetime'''''''To''''tal'''''''''' M''ar''k''''et E''''''ffe''c''t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846513" y="2625725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0631FB3-2F60-4AAE-9422-81E2A1B173AF}" type="datetime'''''''''''''''''''''20''''''''''''''''''''''''''0'''">
              <a:rPr lang="en-US" altLang="en-US" sz="1000" b="1" smtClean="0"/>
              <a:pPr lvl="0" algn="ctr">
                <a:spcAft>
                  <a:spcPct val="0"/>
                </a:spcAft>
                <a:defRPr/>
              </a:pPr>
              <a:t>200</a:t>
            </a:fld>
            <a:endParaRPr lang="en-US" altLang="en-US" sz="1000" b="1" dirty="0" smtClean="0"/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strike="noStrike" kern="1200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sym typeface="+mn-lt"/>
              </a:rPr>
              <a:t>(+3.4%)</a:t>
            </a:r>
            <a:endParaRPr kumimoji="0" lang="en-US" altLang="en-US" sz="1000" b="1" strike="noStrike" kern="1200" spc="0" normalizeH="0" noProof="0" dirty="0">
              <a:ln>
                <a:noFill/>
              </a:ln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8235950" y="1908175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FFDAD0B-5FC5-411B-BCF6-6867CDAE4CB9}" type="datetime'''''''''''''''''''''''''''''''''''''10'',2''''0''''0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2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332413" y="24606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65F0C21-2476-4791-8417-2F07D1E47A4E}" type="datetime'''''-''''''''''1''''''''''''0''''''''''0'''''''''''''">
              <a:rPr lang="en-US" altLang="en-US" sz="1000" b="1" smtClean="0">
                <a:solidFill>
                  <a:schemeClr val="bg1"/>
                </a:solidFill>
              </a:rPr>
              <a:pPr lvl="0" algn="ctr">
                <a:spcAft>
                  <a:spcPct val="0"/>
                </a:spcAft>
                <a:defRPr/>
              </a:pPr>
              <a:t>-100</a:t>
            </a:fld>
            <a:endParaRPr lang="en-US" altLang="en-US" sz="1000" b="1" dirty="0" smtClean="0">
              <a:solidFill>
                <a:schemeClr val="bg1"/>
              </a:solidFill>
              <a:latin typeface="+mn-lt"/>
              <a:sym typeface="+mn-lt"/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strike="noStrike" kern="1200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sym typeface="+mn-lt"/>
              </a:rPr>
              <a:t>(-2.9%)</a:t>
            </a:r>
            <a:endParaRPr kumimoji="0" lang="en-US" altLang="en-US" sz="1000" b="1" strike="noStrike" kern="1200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5084763" y="4926013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231188" y="492601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74713" y="2566988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534883E-9875-4912-898E-4284DFB57983}" type="datetime'''''''''''1''''''''0'''',''''''''''''''''00''''''''0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452938" y="1431925"/>
            <a:ext cx="708025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3430F5F-C522-4F70-A60C-1A117106FDC6}" type="datetime'+''''''''2''''0''''''''''''''''''''0'''''''''''''''''''''">
              <a:rPr lang="en-US" altLang="en-US" sz="1200" b="1" smtClean="0">
                <a:solidFill>
                  <a:srgbClr val="007770"/>
                </a:solidFill>
              </a:rPr>
              <a:pPr lvl="0" algn="ctr">
                <a:spcAft>
                  <a:spcPct val="0"/>
                </a:spcAft>
                <a:defRPr/>
              </a:pPr>
              <a:t>+20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  <a:t>(</a:t>
            </a:r>
            <a:fld id="{A69C08DE-635B-458D-8DD4-BD596DECC95F}" type="datetime'''''''''''''''+2''''.''''''''0%'''''''''''''''''''''''''''''">
              <a:rPr lang="en-US" altLang="en-US" sz="1200" b="1" smtClean="0">
                <a:solidFill>
                  <a:srgbClr val="007770"/>
                </a:solidFill>
              </a:rPr>
              <a:pPr lvl="0" algn="ctr">
                <a:spcAft>
                  <a:spcPct val="0"/>
                </a:spcAft>
                <a:defRPr/>
              </a:pPr>
              <a:t>+2.0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7770"/>
                </a:solidFill>
                <a:effectLst/>
                <a:uLnTx/>
                <a:uFillTx/>
                <a:latin typeface="VWAG TheSans"/>
                <a:sym typeface="+mj-lt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777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8296181"/>
              </p:ext>
            </p:extLst>
          </p:nvPr>
        </p:nvGraphicFramePr>
        <p:xfrm>
          <a:off x="392118" y="5182251"/>
          <a:ext cx="8833104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131536"/>
              </p:ext>
            </p:extLst>
          </p:nvPr>
        </p:nvGraphicFramePr>
        <p:xfrm>
          <a:off x="3429000" y="3197167"/>
          <a:ext cx="1235464" cy="492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9106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86358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64148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New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Proj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340462"/>
                  </a:ext>
                </a:extLst>
              </a:tr>
              <a:tr h="16414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A Entry NB/C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049657"/>
                  </a:ext>
                </a:extLst>
              </a:tr>
              <a:tr h="16414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A0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</a:t>
                      </a:r>
                      <a:r>
                        <a:rPr lang="en-US" altLang="zh-CN" sz="8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UVe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/C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18808"/>
                  </a:ext>
                </a:extLst>
              </a:tr>
            </a:tbl>
          </a:graphicData>
        </a:graphic>
      </p:graphicFrame>
      <p:graphicFrame>
        <p:nvGraphicFramePr>
          <p:cNvPr id="51" name="Tab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285139"/>
              </p:ext>
            </p:extLst>
          </p:nvPr>
        </p:nvGraphicFramePr>
        <p:xfrm>
          <a:off x="1979873" y="3197167"/>
          <a:ext cx="1214851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408798" y="6419499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0104878"/>
              </p:ext>
            </p:extLst>
          </p:nvPr>
        </p:nvGraphicFramePr>
        <p:xfrm>
          <a:off x="4853940" y="3197167"/>
          <a:ext cx="1417320" cy="1214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1903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6541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61097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OP Delay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FAW-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AIC 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JAC 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8898100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EOP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Pull Ahead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1273247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FAW-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3778715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AIC VW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5944363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EOP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 Extension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659190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SAIC VW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13076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6136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792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738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2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upra</a:t>
            </a:r>
            <a:r>
              <a:rPr lang="en-US" dirty="0" smtClean="0"/>
              <a:t> Brand Volume PR69.OP vs. PR69.S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139062"/>
              </p:ext>
            </p:extLst>
          </p:nvPr>
        </p:nvGraphicFramePr>
        <p:xfrm>
          <a:off x="617220" y="5853386"/>
          <a:ext cx="8002960" cy="493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3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27183">
                  <a:extLst>
                    <a:ext uri="{9D8B030D-6E8A-4147-A177-3AD203B41FA5}">
                      <a16:colId xmlns:a16="http://schemas.microsoft.com/office/drawing/2014/main" val="188650236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Delta (ppt) 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1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Cupra</a:t>
                      </a:r>
                      <a:r>
                        <a:rPr lang="en-US" sz="900" b="1" baseline="0" dirty="0" smtClean="0">
                          <a:latin typeface="+mj-lt"/>
                        </a:rPr>
                        <a:t> </a:t>
                      </a:r>
                      <a:r>
                        <a:rPr lang="en-US" sz="900" b="1" dirty="0" smtClean="0">
                          <a:latin typeface="+mj-lt"/>
                        </a:rPr>
                        <a:t>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616302596"/>
              </p:ext>
            </p:extLst>
          </p:nvPr>
        </p:nvGraphicFramePr>
        <p:xfrm>
          <a:off x="1614275" y="1752601"/>
          <a:ext cx="7456714" cy="422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63216" y="2050803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70880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851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olkswagen Group China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W Brand Passenger Car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33" name="Rectangle 4"/>
          <p:cNvSpPr>
            <a:spLocks noChangeArrowheads="1"/>
          </p:cNvSpPr>
          <p:nvPr/>
        </p:nvSpPr>
        <p:spPr bwMode="auto">
          <a:xfrm>
            <a:off x="411132" y="4126056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5</a:t>
            </a:r>
          </a:p>
        </p:txBody>
      </p: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411132" y="4717894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6</a:t>
            </a: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auto">
          <a:xfrm>
            <a:off x="411132" y="530973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7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Jetta Brand 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1012175" y="4126056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 </a:t>
            </a:r>
            <a:r>
              <a:rPr lang="en-US" altLang="zh-CN" sz="1800" b="1" dirty="0" err="1">
                <a:solidFill>
                  <a:srgbClr val="FFFFFF"/>
                </a:solidFill>
                <a:latin typeface="VWAG TheSans"/>
                <a:sym typeface="VWAG TheSans"/>
              </a:rPr>
              <a:t>Cupra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 Brand 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1012175" y="4717894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Audi Brand</a:t>
            </a: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1012175" y="530973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Skoda Brand</a:t>
            </a:r>
          </a:p>
        </p:txBody>
      </p:sp>
    </p:spTree>
    <p:extLst>
      <p:ext uri="{BB962C8B-B14F-4D97-AF65-F5344CB8AC3E}">
        <p14:creationId xmlns:p14="http://schemas.microsoft.com/office/powerpoint/2010/main" val="75395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554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Audi Brand Cycle Plan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046244"/>
              </p:ext>
            </p:extLst>
          </p:nvPr>
        </p:nvGraphicFramePr>
        <p:xfrm>
          <a:off x="384581" y="1571708"/>
          <a:ext cx="9109275" cy="1631851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821855">
                  <a:extLst>
                    <a:ext uri="{9D8B030D-6E8A-4147-A177-3AD203B41FA5}">
                      <a16:colId xmlns:a16="http://schemas.microsoft.com/office/drawing/2014/main" val="806253177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3404441349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365394444"/>
                    </a:ext>
                  </a:extLst>
                </a:gridCol>
              </a:tblGrid>
              <a:tr h="3516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 of Chan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S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O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emarks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040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4/ CS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pr-2024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115888" indent="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ul-202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Delay 3 months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1018552"/>
                  </a:ext>
                </a:extLst>
              </a:tr>
              <a:tr h="32004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6 Lim/JV TBD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May-2024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115888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ug-2024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Delay 3 months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6433533"/>
                  </a:ext>
                </a:extLst>
              </a:tr>
              <a:tr h="32004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6 e-</a:t>
                      </a:r>
                      <a:r>
                        <a:rPr lang="en-US" sz="1000" baseline="0" dirty="0" err="1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ron</a:t>
                      </a: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/JV TBD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Sep-2023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115888" indent="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May-2024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Delay 8 months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61651012"/>
                  </a:ext>
                </a:extLst>
              </a:tr>
              <a:tr h="32004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6 Coupe e-</a:t>
                      </a:r>
                      <a:r>
                        <a:rPr lang="en-US" sz="1000" baseline="0" dirty="0" err="1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ron</a:t>
                      </a: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/JV TBD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3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115888" indent="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Nov-2024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Delay 12 months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3018899"/>
                  </a:ext>
                </a:extLst>
              </a:tr>
            </a:tbl>
          </a:graphicData>
        </a:graphic>
      </p:graphicFrame>
      <p:sp>
        <p:nvSpPr>
          <p:cNvPr id="10" name="Up Arrow 9"/>
          <p:cNvSpPr/>
          <p:nvPr/>
        </p:nvSpPr>
        <p:spPr bwMode="auto">
          <a:xfrm flipV="1">
            <a:off x="1844702" y="2476774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Green front refers to NEV products; </a:t>
            </a:r>
            <a:r>
              <a:rPr lang="en-US" sz="800" dirty="0">
                <a:latin typeface="+mj-lt"/>
              </a:rPr>
              <a:t>Major changes of model cycle plan were considered</a:t>
            </a:r>
          </a:p>
        </p:txBody>
      </p:sp>
    </p:spTree>
    <p:extLst>
      <p:ext uri="{BB962C8B-B14F-4D97-AF65-F5344CB8AC3E}">
        <p14:creationId xmlns:p14="http://schemas.microsoft.com/office/powerpoint/2010/main" val="454939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758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8846" name="think-cell Slide" r:id="rId74" imgW="470" imgH="469" progId="TCLayout.ActiveDocument.1">
                  <p:embed/>
                </p:oleObj>
              </mc:Choice>
              <mc:Fallback>
                <p:oleObj name="think-cell Slide" r:id="rId74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8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Audi Brand </a:t>
            </a:r>
            <a:r>
              <a:rPr lang="en-US" dirty="0">
                <a:sym typeface="VWAG TheSans" panose="020B0502050302020203" pitchFamily="34" charset="0"/>
              </a:rPr>
              <a:t>(CKD &amp; FBU) </a:t>
            </a:r>
            <a:r>
              <a:rPr lang="en-US" dirty="0" smtClean="0">
                <a:sym typeface="VWAG TheSans" panose="020B0502050302020203" pitchFamily="34" charset="0"/>
              </a:rPr>
              <a:t>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107" name="Chart 106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04337639"/>
              </p:ext>
            </p:extLst>
          </p:nvPr>
        </p:nvGraphicFramePr>
        <p:xfrm>
          <a:off x="1147763" y="2994025"/>
          <a:ext cx="8431212" cy="2827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13" name="Rectangle 1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533525" y="4724400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8676B7C-B600-46DD-B704-107D9D786BE2}" type="datetime'''''''''''''''''''''''''3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166938" y="5100638"/>
            <a:ext cx="1952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6613A3C-409F-4059-ACB2-CE178359D47D}" type="datetime'6''''''''''''''''''''''''''''''''00''''''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8366125" y="4632325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687BAF9-1D82-4E35-BEC3-C0B9B9E9DD14}" type="datetime'1''''''''''''''''''''''''''''''''''0''''0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477963" y="520223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A2BE2CF-4FDA-4663-875A-ECB59904838C}" type="datetime'''''''''''''''''''''''''''''''''''''''''''''''''''5''0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146300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452547-61A6-4E46-91CA-A63371423982}" type="datetime'2''''''0''''''''2''''''''''''''''''''0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457325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20ADE8-9339-4367-A7B5-05721C20C669}" type="datetime'''''2''''''''''''''''''0''''''''''''''''''''1''''''''''9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82900" y="4708525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38C743B-9BF5-410D-AF24-6DE9C9109D1A}" type="datetime'''''''''''''''''''2''''''''''''''''''''0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076450" y="3392488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D9D7771-524C-43B0-B63E-D6E4B2CA97BA}" type="datetime'''''''''''2''''''''''''''''0''''''.5%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0.5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4949825" y="448945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841A315-EA57-405F-99E5-2251BB886DD0}" type="datetime'''''''5''''''''0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193925" y="4521200"/>
            <a:ext cx="139700" cy="13335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3725F47-A8B9-47AA-882E-45A051E0C13D}" type="datetime'''''''''''''''''''''''''''''''''''''''''''''1''''0'''''''''">
              <a:rPr lang="en-US" altLang="en-US" sz="8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2765425" y="335756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AA5E423-9B12-4CC5-8D60-BD2FFD717793}" type="datetime'''''''''''''''''2''''''1''''''.''''''''''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1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2855913" y="520223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EF52801-DABE-4C72-BA9F-35377C7BA60D}" type="datetime'''''''''''''''''''''''''''''''''''''''5''''''''''00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835275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C227A6-A41C-4528-88E8-D7DDAA106CC7}" type="datetime'''''''''''''''''''''2''''''''''''''''0''''''''2''''''''''1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9055100" y="51069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FC515CC-F950-4C9C-A5A6-42818FA965D2}" type="datetime'''''''''''''''''''''''''6''''''0''''''''0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6967538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36A238-F014-4DCD-B76E-992286F4F6AB}" type="datetime'''20''''''''''''''27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3454400" y="3305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4A712D5-AA4B-4632-A59F-F4A4C7D774E0}" type="datetime'''''''''''2''''''''''''''''''''''''''''''''''1''.''''5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1.5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6988175" y="520223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26A90AB-ED16-4419-8D5E-141722DF2457}" type="datetime'''''''''''''''''''5''''''''''''''''0''''''''''''''''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571875" y="450850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707BC13-6101-421B-9937-8D0AAF0F148A}" type="datetime'''''''3''''''''''0''''''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299200" y="51069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91E5DBA-9546-42C3-885D-B69DB3EEC9C3}" type="datetime'60''''''''''''0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589588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B955E8-DE78-4CAE-AF77-F687F501E968}" type="datetime'''''''''''''''''''''2''''''''''''''0''''''2''''5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519738" y="31527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CA1FFDE-5DDB-4F0B-BBA5-BACF3DFB6203}" type="datetime'2''3''''.''''''''''''''''''''''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3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4213225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3049D8-BAF7-4370-ACEB-3F8F6265BD82}" type="datetime'''''''''2''''''''''0''''''''''''''''''2''''''''''3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544888" y="51069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2112103-BC55-4927-A22F-FB5004E2C7BC}" type="datetime'''6''''''''''''''''''''''''''''''''0''''0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651750" y="42481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762B01D-DC76-40B9-801B-453606C27FA9}" type="datetime'''''6''''''''''''''''''''''''''''''''''''90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9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3524250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7023C5-829F-4805-B923-5672153B9755}" type="datetime'''''''''''''''2''''''''''''0''''''''''''''''''''''''2''2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4143375" y="32543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BD1712F-50BD-48A4-AB6F-F494503CC13D}" type="datetime'''''''''''''''''''''''''''2''2''''.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2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260850" y="4689475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332A12F-FEB2-4DA4-893F-2D3168432EA7}" type="datetime'4''''''''''''''''''''''''''''''''''''''''''0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656513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638F85-5364-4492-AA07-E5872AA99943}" type="datetime'''''''''''2''''''0''''''''''2''''''8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7677150" y="51069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78B3145-3C4D-4BAB-BC6F-7DFD7E30A2FB}" type="datetime'''''''''''''''''''''6''''''''''''''''''0''''''''''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233863" y="520223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05325C4-F042-47ED-A61F-F21F3B17C661}" type="datetime'''''''''''''''''5''0''''''''''''''''''''''''''''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832350" y="32035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5C74535-00F5-4B93-ABEE-3E7F296E0658}" type="datetime'2''''''''''''''''''''''2''''''''''.''''5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2.5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922838" y="51069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36233E4-90D3-4A75-A91C-E2CBC8121F48}" type="datetime'''''6''0''''''''''0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4902200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F3CCD4-3BA8-4FB5-BE23-76A7F9A3F63E}" type="datetime'''''''''''''2''''''''''''0''''2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5526087" y="4608513"/>
            <a:ext cx="363538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88F06B7-6AB7-44DB-866F-47E66416EDE4}" type="datetime'''''6''''''''''''''''''''''''''''0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A24F5F78-6796-49E4-9006-923B72378308}" type="datetime'''''''''''''''''''''''''''''''1''0''.7%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7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5610225" y="5195888"/>
            <a:ext cx="1952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C7F7C0A-8122-4703-9F98-BC1137E01776}" type="datetime'''''''''''''5''''''''''''''''''''''''''''''''''0''''''''''0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208713" y="31003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5DA3071-59AD-4B1C-A0D9-1ED50E82EEB2}" type="datetime'''''''''''''''2''''''3''''''.5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3.5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2830513" y="45561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58315AA-C166-4A70-BDC0-ECB296C1959F}" type="datetime'''5''''''''''''''''''''''''2''''''''''''''''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2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6326188" y="4470400"/>
            <a:ext cx="1397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C80864D-F196-4C49-A555-23C758FA3A1E}" type="datetime'''''''''''''''''''''''7''0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6278563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7C662A-8396-4AB6-BA4F-83118A3BE854}" type="datetime'''''2''''''''''''''''0''''''''''''''''2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3519488" y="43561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BF15A0B-4D97-4D00-A88D-670329197B9A}" type="datetime'6''''''''''''''''''''''''''3''''''''0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3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8345488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D98A82-F53A-48EC-94E3-8BB20E29B620}" type="datetime'''''''2''''''0''''''''''''''''''''''''''''''2''''9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6897688" y="30495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E5CFBF6-B8FC-40F1-8AF0-AA8980E7D7D8}" type="datetime'''''''''2''''''''''4.''''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4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8964613" y="289560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AD659AE-3627-4706-B95C-AF31DA781B76}" type="datetime'2''''5''''''''''''''''''''''.''''''''''''''''5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5.5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7015163" y="4651375"/>
            <a:ext cx="1397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E5B0386-0F5C-41DB-9E3D-B6E7E005F593}" type="datetime'''''''''''''''8''''''''''''''''0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586663" y="29987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735FA9E-E5DB-4C8C-9F3D-9AB184821078}" type="datetime'''''2''''''''''''''''''''''''''''''''''4''''.''5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4.5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1387475" y="345916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62F12CA-3FF7-4E85-9E11-45EE0D134B8B}" type="datetime'''''''''''''2''''''''''0''.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8275638" y="29479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4027288-924E-481A-8A36-12A07F2915DA}" type="datetime'2''''''''5.''''''''''''''0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5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8366125" y="520223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B28312A-A0E7-4D48-844E-9704B386DDC3}" type="datetime'''''''''''''''''5''''''''''0''''''0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6962775" y="44561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6D5C366-E4F4-405E-B9A6-EDA1C8040A85}" type="datetime'''''''''''''''''''''58''''''''''''''''0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8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8970963" y="4370388"/>
            <a:ext cx="363538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F16CFBD-E6D8-43D6-952E-9ED0D1B57C43}" type="datetime'''''''''1''''''''''''''''''''''''''1''''''0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10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EFB4AE16-8457-4FC9-863B-C6807D0711DB}" type="datetime'''''''''1''''5''''.''''''''''''''''5''''''''''''''%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5.5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9034463" y="5772150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0427FB-3C8A-4011-B704-14A214B04D85}" type="datetime'''''''''''2''''''''''''0''''3''''''''''''''''0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1452563" y="45720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65FFEFD-56FF-4840-8409-0AB2EEFAC001}" type="datetime'''''''5''''''''''''''''''''03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3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7704138" y="4451350"/>
            <a:ext cx="1397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00E2619-9D32-4B28-B416-9771B14C270B}" type="datetime'''''''''''9''''''''''''''''''''0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2141538" y="4352925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24D76A9-156B-41E6-BA44-16B0A446C70F}" type="datetime'''''''''''''''''''6''''''''''1''''''''''''''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4208463" y="45339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8AA7837-B84C-4692-B569-CCDB502765EF}" type="datetime'''''''''''5''''''''''''4''''''''''''''''0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4897438" y="43243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9830E92-A9BD-4669-A087-97180BD35FC5}" type="datetime'''''6''''''''''''''''''''''''''5''''''''''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5584825" y="44561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281ED67-6957-453F-839B-D845051BE79D}" type="datetime'''''''56''''''''''''''''''''''''''''''''''''''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6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6273800" y="42862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D032728-367A-49A5-849A-FF95E670088B}" type="datetime'''''''6''''''''''''''''''''''''''7''''''''''''''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7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8340725" y="44196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FD7FBE7-C921-4450-9423-A1DCF9ABEBC8}" type="datetime'''''''''''6''''''''''''''0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9029700" y="4211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F5B3995-CD73-455C-93C6-9FFB1456698C}" type="datetime'''''''''''''''''''''7''''''''''''''''''''1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1" name="Rectangle 70"/>
          <p:cNvSpPr/>
          <p:nvPr>
            <p:custDataLst>
              <p:tags r:id="rId65"/>
            </p:custDataLst>
          </p:nvPr>
        </p:nvSpPr>
        <p:spPr bwMode="auto">
          <a:xfrm>
            <a:off x="477838" y="3824288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66"/>
            </p:custDataLst>
          </p:nvPr>
        </p:nvCxnSpPr>
        <p:spPr bwMode="auto">
          <a:xfrm>
            <a:off x="447675" y="35306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Rectangle 69"/>
          <p:cNvSpPr/>
          <p:nvPr>
            <p:custDataLst>
              <p:tags r:id="rId67"/>
            </p:custDataLst>
          </p:nvPr>
        </p:nvSpPr>
        <p:spPr bwMode="auto">
          <a:xfrm>
            <a:off x="477838" y="3651250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2" name="Oval 71"/>
          <p:cNvSpPr/>
          <p:nvPr>
            <p:custDataLst>
              <p:tags r:id="rId68"/>
            </p:custDataLst>
          </p:nvPr>
        </p:nvSpPr>
        <p:spPr bwMode="auto">
          <a:xfrm>
            <a:off x="493713" y="35052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671513" y="3473450"/>
            <a:ext cx="4778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</a:pPr>
            <a:fld id="{A088699B-0CEC-4A42-B113-6C35FFCE5B7F}" type="datetime'P''''''r''''''''''''''e''''''''m''''''.''''''MS''''''%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>
                <a:lnSpc>
                  <a:spcPct val="100000"/>
                </a:lnSpc>
                <a:spcAft>
                  <a:spcPct val="0"/>
                </a:spcAft>
              </a:pPr>
              <a:t>Prem.MS%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671513" y="36464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744EC7-2293-473F-97E3-06C8268B9D19}" type="datetime'''''''''''''N''''''''''''E''''''''V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671513" y="3819525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29D29B-151D-41B2-B8AE-4EC31DDF71F4}" type="datetime'''''''''''I''''''''''C''''''''E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CE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675979"/>
              </p:ext>
            </p:extLst>
          </p:nvPr>
        </p:nvGraphicFramePr>
        <p:xfrm>
          <a:off x="408798" y="5768975"/>
          <a:ext cx="9122228" cy="685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em.</a:t>
                      </a:r>
                      <a:r>
                        <a:rPr lang="en-US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</a:t>
                      </a:r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V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CE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.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.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.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.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.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0.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93795" y="2954338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392113" y="1475779"/>
            <a:ext cx="9119467" cy="81657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2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2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2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2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408798" y="6459619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32660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666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9867" name="think-cell Slide" r:id="rId48" imgW="470" imgH="469" progId="TCLayout.ActiveDocument.1">
                  <p:embed/>
                </p:oleObj>
              </mc:Choice>
              <mc:Fallback>
                <p:oleObj name="think-cell Slide" r:id="rId48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Audi </a:t>
            </a:r>
            <a:r>
              <a:rPr lang="en-US" dirty="0">
                <a:sym typeface="VWAG TheSans" panose="020B0502050302020203" pitchFamily="34" charset="0"/>
              </a:rPr>
              <a:t>Brand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 </a:t>
            </a:r>
            <a:r>
              <a:rPr lang="en-US" dirty="0">
                <a:sym typeface="VWAG TheSans" panose="020B0502050302020203" pitchFamily="34" charset="0"/>
              </a:rPr>
              <a:t>(CKD &amp; FBU) 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NEV </a:t>
            </a:r>
            <a:r>
              <a:rPr lang="en-US" dirty="0" smtClean="0">
                <a:sym typeface="VWAG TheSans" panose="020B0502050302020203" pitchFamily="34" charset="0"/>
              </a:rPr>
              <a:t>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0" name="Chart 8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6786831"/>
              </p:ext>
            </p:extLst>
          </p:nvPr>
        </p:nvGraphicFramePr>
        <p:xfrm>
          <a:off x="1143000" y="2727325"/>
          <a:ext cx="8435975" cy="2643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44" name="Rectangle 4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517650" y="50990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D5E37A8-74D5-4F51-A4EA-91D766139868}" type="datetime'''3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7627938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CEEE84-0EED-46DF-9ECC-E2A2CA44AD1D}" type="datetime'2''''''''''''''''''''''''''0''2''''''''''''''''''8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553075" y="37766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D6ECF45-BE33-498C-8023-06EC5C6255DB}" type="datetime'5.6''''''''''''''''%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6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417638" y="38147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08DD4F0-62C3-464D-BF0B-7BBF89FF18F4}" type="datetime'''''''5''.''''''''''''''''''''''''''''0%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492500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6904E4-2E7D-42C3-96F3-22A0B69887BF}" type="datetime'''''''''''''''''''''''''''''''20''2''''''''2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106613" y="3792538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8B57477-9433-4473-BB28-D2B6F6ED4B7D}" type="datetime'5''''''.''''1''''''''''''''''''''''''''''''''%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795588" y="38020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BA5D969-80F9-445F-97D8-CD7BF23708EC}" type="datetime'''''5''''''''.''''2''''''''%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2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112963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972B52-CA4A-4771-8A8E-3170475E3563}" type="datetime'''2''''''''''''''''''''''''''''''0''''''''''2''0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8999538" y="37306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66EB935-5436-4E20-A1BF-A2B091307F73}" type="datetime'''''''''6''''.1''''%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3486150" y="37957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239EDEF-F8A9-4B1F-AC27-960CC401C75F}" type="datetime'''''''''5''''''''''''.''3%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3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801938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7792743-77A7-486E-A8C5-94B87944C873}" type="datetime'2''''''0''''''''''''''''''''''2''''''1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2171700" y="5056188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2F1D88B-297F-426A-B02C-17B08D2B6942}" type="datetime'''''''''''''''''''''''''''''''''''''''1''''''0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4175125" y="37893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E09A9BB-BB80-43EA-88BB-316787DA7ACD}" type="datetime'''5''''''''''''''''.4''''%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4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7686675" y="47672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4B0EFA7-EEDA-4799-B35D-1C212DD1A494}" type="datetime'''9''''''''''''''''''''''''''''''''''''''''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4181475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C146DF-0F40-456D-BC80-3A28707C0258}" type="datetime'''''''''2''''''''''''''''0''''''''2''''''''''''''3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4864100" y="3783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A8463B7-E115-4DFC-AC2C-7B4C054584BD}" type="datetime'''''''''''''''''''''''5''''''''''''''.''5''''''''''''''''''%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5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870450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923BA03-0CC9-44E0-A944-C394AB7620B7}" type="datetime'''''2''''''''''''''''''0''''''''2''''4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423988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DC555D-75C8-4075-B3A7-F155604256C4}" type="datetime'''''''''''''''''''''''''''''''''''2''019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242050" y="37703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CE497EA-B9BB-4313-AD01-3385FBF8C2F5}" type="datetime'''''''5.''''7''''''''''''''%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7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248400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753E98-D0D7-4DDD-9DBB-B6956B0B7AC3}" type="datetime'''''''''''''''''''2''''''02''''''''''6''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6931025" y="37639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D3D8533-0429-46BE-A83F-F0D9EF498E9C}" type="datetime'5''''''''.''''''''''''''''''''''8''''''''''''''%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8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937375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DA44C2-1E8C-4C31-98EB-6F7A6F997253}" type="datetime'20''''''''''''''''''''''''''''2''''''''''''''''''''7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621588" y="37576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3B607AF-4E14-4742-9B3E-D2FEA9DA9FB1}" type="datetime'''''''''''''''''5''.''''''''9''''''''''''%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9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9029700" y="467518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AF615AA-2803-43DC-98E2-E7A0D0C65FC4}" type="datetime'''''''''''''''''''''''''''''''''''1''1''''''''''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310563" y="37512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B5A09DC-7879-41A1-BDE8-A4E7ADDD4E8A}" type="datetime'''''''''''''6''''''''''.''''''''''''''''''''0''%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8316913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E9C2172-B609-48DC-8E92-EBD21802F01A}" type="datetime'2''''''''''''''''0''''''''''''''''''''''2''''''9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6996113" y="48053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E96BDC6-8D65-48F8-B23A-A5EF7A286993}" type="datetime'''''''''''''''8''''''''''''''''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4929188" y="49196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0CC13E9-735C-45F7-93BB-86F777BA27CF}" type="datetime'''''''''''''''5''''''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9005888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7E817D-8C93-4FBA-ACE4-7EF979B8B551}" type="datetime'''''''''''''''''2''''''0''''''3''''''0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2860675" y="5033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E6BEDDB-F9FC-430B-9A13-C667689220DF}" type="datetime'''''''''''''''''''''''''''''''''''2''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3551238" y="4995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30F4C4E-335F-4B63-865D-1E0FD577E776}" type="datetime'3''0''''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240213" y="49577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0427584-2439-4BA8-8674-75013668BB09}" type="datetime'''''''''''4''''''0''''''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5618163" y="48815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3C24900-FE1A-43EC-BD07-B2C97BF3FA4B}" type="datetime'6''''''''''''''''''''''''''''''''''''''''''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6307138" y="48434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580C8A3-BEC2-40B2-A31C-4F1315AD751D}" type="datetime'''''''''''''''''''''''''''''''''''''''''''''''7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8340725" y="471328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AACC664-A38E-4DD1-98FF-938EFF0BB7EF}" type="datetime'''''''''''1''''''''''''''''''''''00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5559425" y="53308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21C013D-A6F6-4E76-BBE0-9E3FAC926FFF}" type="datetime'2''''''''''''''''0''''''''25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41"/>
            </p:custDataLst>
          </p:nvPr>
        </p:nvCxnSpPr>
        <p:spPr bwMode="auto">
          <a:xfrm>
            <a:off x="473075" y="3325813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42"/>
            </p:custDataLst>
          </p:nvPr>
        </p:nvSpPr>
        <p:spPr bwMode="auto">
          <a:xfrm>
            <a:off x="503238" y="3446463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7" name="Oval 76"/>
          <p:cNvSpPr/>
          <p:nvPr>
            <p:custDataLst>
              <p:tags r:id="rId43"/>
            </p:custDataLst>
          </p:nvPr>
        </p:nvSpPr>
        <p:spPr bwMode="auto">
          <a:xfrm>
            <a:off x="519113" y="3300413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696913" y="3268663"/>
            <a:ext cx="6873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</a:pPr>
            <a:fld id="{DCD7A648-FDF8-4058-97AF-96A720FC4D96}" type="datetime'''P''''re''''m''''.''NE''''''''''V ''''''MS''''''''%'">
              <a:rPr lang="en-US" altLang="en-US" sz="8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>
                <a:lnSpc>
                  <a:spcPct val="100000"/>
                </a:lnSpc>
                <a:spcAft>
                  <a:spcPct val="0"/>
                </a:spcAft>
              </a:pPr>
              <a:t>Prem.NEV MS%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696913" y="3441700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NEV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6077881"/>
              </p:ext>
            </p:extLst>
          </p:nvPr>
        </p:nvGraphicFramePr>
        <p:xfrm>
          <a:off x="401445" y="5311765"/>
          <a:ext cx="9112675" cy="114693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504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PE</a:t>
                      </a:r>
                    </a:p>
                  </a:txBody>
                  <a:tcPr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LB</a:t>
                      </a:r>
                    </a:p>
                  </a:txBody>
                  <a:tcPr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180000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QB</a:t>
                      </a:r>
                    </a:p>
                  </a:txBody>
                  <a:tcPr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EB</a:t>
                      </a:r>
                    </a:p>
                  </a:txBody>
                  <a:tcPr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BU</a:t>
                      </a:r>
                    </a:p>
                  </a:txBody>
                  <a:tcPr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906910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368921" y="2833618"/>
            <a:ext cx="655984" cy="20637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415009" y="1574800"/>
            <a:ext cx="9119467" cy="501215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4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4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08798" y="6459619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9250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764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5579" name="think-cell Slide" r:id="rId34" imgW="470" imgH="469" progId="TCLayout.ActiveDocument.1">
                  <p:embed/>
                </p:oleObj>
              </mc:Choice>
              <mc:Fallback>
                <p:oleObj name="think-cell Slide" r:id="rId34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Audi </a:t>
            </a:r>
            <a:r>
              <a:rPr lang="en-US" dirty="0">
                <a:sym typeface="VWAG TheSans" panose="020B0502050302020203" pitchFamily="34" charset="0"/>
              </a:rPr>
              <a:t>Brand (CKD &amp; FBU) PR69.OP </a:t>
            </a:r>
            <a:r>
              <a:rPr lang="en-US" dirty="0" smtClean="0">
                <a:sym typeface="VWAG TheSans" panose="020B0502050302020203" pitchFamily="34" charset="0"/>
              </a:rPr>
              <a:t>vs. PR69.SP </a:t>
            </a:r>
            <a:r>
              <a:rPr lang="en-US" dirty="0">
                <a:sym typeface="VWAG TheSans" panose="020B0502050302020203" pitchFamily="34" charset="0"/>
              </a:rPr>
              <a:t>- Acc. </a:t>
            </a:r>
            <a:r>
              <a:rPr lang="en-US" dirty="0" smtClean="0">
                <a:sym typeface="VWAG TheSans" panose="020B0502050302020203" pitchFamily="34" charset="0"/>
              </a:rPr>
              <a:t>Volumes (2020-2030)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536700" y="2428875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009900" y="2314575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>
            <a:off x="4481513" y="2314575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auto">
          <a:xfrm>
            <a:off x="5953125" y="2771775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426325" y="2886075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auto">
          <a:xfrm>
            <a:off x="3663950" y="2311400"/>
            <a:ext cx="817563" cy="6350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0" name="Chart 49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64500366"/>
              </p:ext>
            </p:extLst>
          </p:nvPr>
        </p:nvGraphicFramePr>
        <p:xfrm>
          <a:off x="309563" y="2232025"/>
          <a:ext cx="8997950" cy="273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 useBgFill="1">
        <p:nvSpPr>
          <p:cNvPr id="15" name="Freeform 14"/>
          <p:cNvSpPr/>
          <p:nvPr>
            <p:custDataLst>
              <p:tags r:id="rId11"/>
            </p:custDataLst>
          </p:nvPr>
        </p:nvSpPr>
        <p:spPr bwMode="auto">
          <a:xfrm>
            <a:off x="8034338" y="3733800"/>
            <a:ext cx="909638" cy="301626"/>
          </a:xfrm>
          <a:custGeom>
            <a:avLst/>
            <a:gdLst/>
            <a:ahLst/>
            <a:cxnLst/>
            <a:rect l="0" t="0" r="0" b="0"/>
            <a:pathLst>
              <a:path w="909638" h="301626">
                <a:moveTo>
                  <a:pt x="0" y="244475"/>
                </a:moveTo>
                <a:lnTo>
                  <a:pt x="909637" y="0"/>
                </a:lnTo>
                <a:lnTo>
                  <a:pt x="909637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2" name="Freeform 11"/>
          <p:cNvSpPr/>
          <p:nvPr>
            <p:custDataLst>
              <p:tags r:id="rId12"/>
            </p:custDataLst>
          </p:nvPr>
        </p:nvSpPr>
        <p:spPr bwMode="auto">
          <a:xfrm>
            <a:off x="673100" y="3733800"/>
            <a:ext cx="909639" cy="301626"/>
          </a:xfrm>
          <a:custGeom>
            <a:avLst/>
            <a:gdLst/>
            <a:ahLst/>
            <a:cxnLst/>
            <a:rect l="0" t="0" r="0" b="0"/>
            <a:pathLst>
              <a:path w="909639" h="301626">
                <a:moveTo>
                  <a:pt x="0" y="244475"/>
                </a:moveTo>
                <a:lnTo>
                  <a:pt x="909638" y="0"/>
                </a:lnTo>
                <a:lnTo>
                  <a:pt x="909638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3"/>
            </p:custDataLst>
          </p:nvPr>
        </p:nvSpPr>
        <p:spPr bwMode="auto">
          <a:xfrm>
            <a:off x="673100" y="3733800"/>
            <a:ext cx="909639" cy="244476"/>
          </a:xfrm>
          <a:custGeom>
            <a:avLst/>
            <a:gdLst/>
            <a:ahLst/>
            <a:cxnLst/>
            <a:rect l="0" t="0" r="0" b="0"/>
            <a:pathLst>
              <a:path w="909639" h="244476">
                <a:moveTo>
                  <a:pt x="0" y="244475"/>
                </a:moveTo>
                <a:lnTo>
                  <a:pt x="9096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4"/>
            </p:custDataLst>
          </p:nvPr>
        </p:nvSpPr>
        <p:spPr bwMode="auto">
          <a:xfrm>
            <a:off x="673100" y="3790950"/>
            <a:ext cx="909639" cy="244476"/>
          </a:xfrm>
          <a:custGeom>
            <a:avLst/>
            <a:gdLst/>
            <a:ahLst/>
            <a:cxnLst/>
            <a:rect l="0" t="0" r="0" b="0"/>
            <a:pathLst>
              <a:path w="909639" h="244476">
                <a:moveTo>
                  <a:pt x="0" y="244475"/>
                </a:moveTo>
                <a:lnTo>
                  <a:pt x="9096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5"/>
            </p:custDataLst>
          </p:nvPr>
        </p:nvSpPr>
        <p:spPr bwMode="auto">
          <a:xfrm>
            <a:off x="8034338" y="3733800"/>
            <a:ext cx="909638" cy="244476"/>
          </a:xfrm>
          <a:custGeom>
            <a:avLst/>
            <a:gdLst/>
            <a:ahLst/>
            <a:cxnLst/>
            <a:rect l="0" t="0" r="0" b="0"/>
            <a:pathLst>
              <a:path w="909638" h="244476">
                <a:moveTo>
                  <a:pt x="0" y="244475"/>
                </a:moveTo>
                <a:lnTo>
                  <a:pt x="9096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6"/>
            </p:custDataLst>
          </p:nvPr>
        </p:nvSpPr>
        <p:spPr bwMode="auto">
          <a:xfrm>
            <a:off x="8034338" y="3790950"/>
            <a:ext cx="909638" cy="244476"/>
          </a:xfrm>
          <a:custGeom>
            <a:avLst/>
            <a:gdLst/>
            <a:ahLst/>
            <a:cxnLst/>
            <a:rect l="0" t="0" r="0" b="0"/>
            <a:pathLst>
              <a:path w="909638" h="244476">
                <a:moveTo>
                  <a:pt x="0" y="244475"/>
                </a:moveTo>
                <a:lnTo>
                  <a:pt x="9096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0" name="Straight Connector 19"/>
          <p:cNvCxnSpPr/>
          <p:nvPr>
            <p:custDataLst>
              <p:tags r:id="rId17"/>
            </p:custDataLst>
          </p:nvPr>
        </p:nvCxnSpPr>
        <p:spPr bwMode="auto">
          <a:xfrm>
            <a:off x="8488363" y="1952625"/>
            <a:ext cx="0" cy="6683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18"/>
            </p:custDataLst>
          </p:nvPr>
        </p:nvCxnSpPr>
        <p:spPr bwMode="auto">
          <a:xfrm flipV="1">
            <a:off x="1127125" y="1952624"/>
            <a:ext cx="0" cy="2111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9"/>
            </p:custDataLst>
          </p:nvPr>
        </p:nvCxnSpPr>
        <p:spPr bwMode="auto">
          <a:xfrm>
            <a:off x="1127125" y="1952625"/>
            <a:ext cx="73612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Rectangle 2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69925" y="4926013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222500" y="2170113"/>
            <a:ext cx="757238" cy="403225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732E493-718F-4E50-AE55-290461795AB8}" type="datetime'''''''''''''''1''''''''''''''''''''''''''''''''''''0'''">
              <a:rPr lang="en-US" altLang="en-US" sz="1200" b="1" smtClean="0"/>
              <a:pPr lvl="0" algn="ctr">
                <a:spcAft>
                  <a:spcPct val="0"/>
                </a:spcAft>
                <a:defRPr/>
              </a:pPr>
              <a:t>10</a:t>
            </a:fld>
            <a:endParaRPr lang="en-US" altLang="en-US" sz="1200" b="1" dirty="0" smtClean="0"/>
          </a:p>
          <a:p>
            <a:pPr lvl="0" algn="ctr">
              <a:spcAft>
                <a:spcPct val="0"/>
              </a:spcAft>
              <a:defRPr/>
            </a:pPr>
            <a:r>
              <a:rPr kumimoji="0" lang="zh-CN" altLang="en-US" sz="1200" b="1" i="0" strike="noStrike" kern="1200" spc="0" normalizeH="0" noProof="0" dirty="0" smtClean="0">
                <a:ln>
                  <a:noFill/>
                </a:ln>
                <a:effectLst/>
                <a:uLnTx/>
                <a:uFillTx/>
                <a:sym typeface="VWAG TheSans" panose="020B0502050302020203" pitchFamily="34" charset="0"/>
              </a:rPr>
              <a:t>（</a:t>
            </a:r>
            <a:r>
              <a:rPr kumimoji="0" lang="en-US" altLang="zh-CN" sz="1200" b="1" i="0" strike="noStrike" kern="1200" spc="0" normalizeH="0" noProof="0" dirty="0" smtClean="0">
                <a:ln>
                  <a:noFill/>
                </a:ln>
                <a:effectLst/>
                <a:uLnTx/>
                <a:uFillTx/>
                <a:sym typeface="VWAG TheSans" panose="020B0502050302020203" pitchFamily="34" charset="0"/>
              </a:rPr>
              <a:t>+0.1%</a:t>
            </a:r>
            <a:r>
              <a:rPr kumimoji="0" lang="zh-CN" altLang="en-US" sz="1200" b="1" i="0" strike="noStrike" kern="1200" spc="0" normalizeH="0" noProof="0" dirty="0" smtClean="0">
                <a:ln>
                  <a:noFill/>
                </a:ln>
                <a:effectLst/>
                <a:uLnTx/>
                <a:uFillTx/>
                <a:sym typeface="VWAG TheSans" panose="020B0502050302020203" pitchFamily="34" charset="0"/>
              </a:rPr>
              <a:t>）</a:t>
            </a:r>
            <a:endParaRPr kumimoji="0" lang="en-US" sz="1200" b="1" i="0" strike="noStrike" kern="1200" spc="0" normalizeH="0" noProof="0" dirty="0" smtClean="0">
              <a:ln>
                <a:noFill/>
              </a:ln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084763" y="4926013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043113" y="4926013"/>
            <a:ext cx="11160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BEA2381-5BA8-4A9B-8347-8B633E4478BC}" type="datetime'''P''r''''''''em. ''M''''''a''rk''''e''t'' ''E''f''f''''e''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em.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676650" y="4926013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287963" y="2341563"/>
            <a:ext cx="5111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AB9480-5723-46F6-82D5-48B0E60D41AF}" type="datetime'''''''''''''''''''''''''''''''''''-''4''''''''''0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40</a:t>
            </a:fld>
            <a:endParaRPr kumimoji="0" lang="en-US" alt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(-0.4%)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761164" y="2627313"/>
            <a:ext cx="511175" cy="40322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0841747-D8B6-4B42-92A9-EBCF0BBE46F1}" type="datetime'''''''''''-''''''''''''1''''0'''''''''''''''''''''''''">
              <a:rPr lang="en-US" altLang="en-US" sz="12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10</a:t>
            </a:fld>
            <a:endParaRPr lang="en-US" altLang="en-US" sz="1200" b="1" dirty="0" smtClean="0">
              <a:solidFill>
                <a:srgbClr val="FFFFFF"/>
              </a:solidFill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sz="1200" b="1" i="0" strike="noStrike" kern="1200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VWAG TheSans" panose="020B0502050302020203" pitchFamily="34" charset="0"/>
              </a:rPr>
              <a:t>(-</a:t>
            </a:r>
            <a:r>
              <a:rPr kumimoji="0" lang="en-US" altLang="zh-CN" sz="1200" b="1" i="0" strike="noStrike" kern="1200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VWAG TheSans" panose="020B0502050302020203" pitchFamily="34" charset="0"/>
              </a:rPr>
              <a:t>1.0</a:t>
            </a:r>
            <a:r>
              <a:rPr kumimoji="0" lang="en-US" sz="1200" b="1" i="0" strike="noStrike" kern="1200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VWAG TheSans" panose="020B0502050302020203" pitchFamily="34" charset="0"/>
              </a:rPr>
              <a:t>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657975" y="4926013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231188" y="492601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917575" y="2201863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2FED448-EB7B-4B36-AA26-642ED19FF68D}" type="datetime'''''''''''''''''''''''''1'',''''''''''''0''''0''0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340726" y="2659063"/>
            <a:ext cx="2968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1F6D1DD-9558-407A-9B12-D800E1188123}" type="datetime'''''''''9''''''''''''''''''''''''''''''''6''''''''''0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96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476750" y="1666875"/>
            <a:ext cx="660400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BD1666A-2ACA-4068-86ED-00ACD878FB74}" type="datetime'''-''''''''4''''''''''''''''''0''''''''''''''''''''''''''''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(</a:t>
            </a:r>
            <a:fld id="{053173DD-4EB0-475B-AC19-A13CE246F430}" type="datetime'''''-''''''''''4''''''''.''''''''''''''0''''''''''%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.0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878674"/>
              </p:ext>
            </p:extLst>
          </p:nvPr>
        </p:nvGraphicFramePr>
        <p:xfrm>
          <a:off x="392118" y="5182251"/>
          <a:ext cx="8833104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em.</a:t>
                      </a:r>
                      <a:r>
                        <a:rPr lang="en-US" sz="900" b="1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</a:t>
                      </a:r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4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5600001"/>
              </p:ext>
            </p:extLst>
          </p:nvPr>
        </p:nvGraphicFramePr>
        <p:xfrm>
          <a:off x="4858732" y="2960561"/>
          <a:ext cx="1232901" cy="10382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5032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17869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82802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51656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AIC V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13269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4</a:t>
                      </a:r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151656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JV</a:t>
                      </a:r>
                      <a:r>
                        <a:rPr lang="en-US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TBD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  <a:tr h="13269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6 Li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50675"/>
                  </a:ext>
                </a:extLst>
              </a:tr>
              <a:tr h="13269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6 Coupe e-</a:t>
                      </a:r>
                      <a:r>
                        <a:rPr lang="en-US" sz="700" u="none" strike="noStrike" dirty="0" err="1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r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4486100"/>
                  </a:ext>
                </a:extLst>
              </a:tr>
              <a:tr h="154015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6 e-</a:t>
                      </a:r>
                      <a:r>
                        <a:rPr lang="en-US" sz="700" u="none" strike="noStrike" dirty="0" err="1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r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6087273"/>
                  </a:ext>
                </a:extLst>
              </a:tr>
            </a:tbl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408798" y="6459619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166443"/>
              </p:ext>
            </p:extLst>
          </p:nvPr>
        </p:nvGraphicFramePr>
        <p:xfrm>
          <a:off x="1871663" y="2960561"/>
          <a:ext cx="140970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3730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405970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mium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8140963"/>
              </p:ext>
            </p:extLst>
          </p:nvPr>
        </p:nvGraphicFramePr>
        <p:xfrm>
          <a:off x="6419850" y="3084167"/>
          <a:ext cx="1333500" cy="5611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96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3806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61097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CE</a:t>
                      </a:r>
                      <a:r>
                        <a:rPr lang="en-US" altLang="zh-CN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r>
                        <a:rPr lang="en-US" altLang="zh-CN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1273247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JV TB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5659190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FB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4207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5910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0884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3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altLang="zh-CN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宋体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68" name="Chart 67"/>
          <p:cNvGraphicFramePr/>
          <p:nvPr>
            <p:extLst>
              <p:ext uri="{D42A27DB-BD31-4B8C-83A1-F6EECF244321}">
                <p14:modId xmlns:p14="http://schemas.microsoft.com/office/powerpoint/2010/main" val="3569595798"/>
              </p:ext>
            </p:extLst>
          </p:nvPr>
        </p:nvGraphicFramePr>
        <p:xfrm>
          <a:off x="359728" y="2512720"/>
          <a:ext cx="8761970" cy="3364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1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>
                <a:latin typeface="+mj-lt"/>
              </a:rPr>
              <a:t>Titel</a:t>
            </a:r>
            <a:endParaRPr lang="en-US" altLang="zh-CN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86663" y="2021659"/>
            <a:ext cx="5549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800" dirty="0" smtClean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800" dirty="0" smtClean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800" dirty="0">
              <a:solidFill>
                <a:srgbClr val="33434C"/>
              </a:solidFill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8706481" y="2873287"/>
            <a:ext cx="119951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 smtClean="0">
                <a:solidFill>
                  <a:srgbClr val="003366"/>
                </a:solidFill>
                <a:latin typeface="+mj-lt"/>
              </a:rPr>
              <a:t>PR69 OP</a:t>
            </a:r>
            <a:endParaRPr lang="en-US" altLang="zh-CN" sz="1000" b="1" dirty="0">
              <a:solidFill>
                <a:srgbClr val="003366"/>
              </a:solidFill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706481" y="2619080"/>
            <a:ext cx="8594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R69 SP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4422914"/>
              </p:ext>
            </p:extLst>
          </p:nvPr>
        </p:nvGraphicFramePr>
        <p:xfrm>
          <a:off x="429373" y="5537552"/>
          <a:ext cx="8542707" cy="591405"/>
        </p:xfrm>
        <a:graphic>
          <a:graphicData uri="http://schemas.openxmlformats.org/drawingml/2006/table">
            <a:tbl>
              <a:tblPr firstRow="1" bandRow="1"/>
              <a:tblGrid>
                <a:gridCol w="896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76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79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63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903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76417686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lta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OP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Vs S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2,700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80</a:t>
                      </a:r>
                      <a:r>
                        <a:rPr lang="en-US" altLang="zh-CN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06801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69 SP GR</a:t>
                      </a: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  <a:cs typeface="Arial" panose="020B0604020202020204" pitchFamily="34" charset="0"/>
                        </a:rPr>
                        <a:t>-2.0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3.0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69 OP GR</a:t>
                      </a: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3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  <a:cs typeface="Arial" panose="020B0604020202020204" pitchFamily="34" charset="0"/>
                        </a:rPr>
                        <a:t>-2.0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3.0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5.0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384658" y="6207125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</a:t>
            </a:r>
            <a:r>
              <a:rPr lang="fr-FR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69 OP and PR69 SP</a:t>
            </a:r>
            <a:endParaRPr lang="fr-FR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747033" y="1666090"/>
            <a:ext cx="14879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200" b="1" dirty="0" smtClean="0">
                <a:solidFill>
                  <a:srgbClr val="000000"/>
                </a:solidFill>
                <a:latin typeface="+mj-lt"/>
                <a:ea typeface="宋体" pitchFamily="2" charset="-122"/>
              </a:rPr>
              <a:t>CAGR 2025E-2030E</a:t>
            </a:r>
            <a:endParaRPr lang="en-US" sz="1200" b="1" dirty="0">
              <a:solidFill>
                <a:srgbClr val="000000"/>
              </a:solidFill>
              <a:latin typeface="+mj-lt"/>
              <a:ea typeface="宋体" pitchFamily="2" charset="-122"/>
            </a:endParaRPr>
          </a:p>
        </p:txBody>
      </p:sp>
      <p:sp>
        <p:nvSpPr>
          <p:cNvPr id="31" name="Left Brace 30"/>
          <p:cNvSpPr/>
          <p:nvPr/>
        </p:nvSpPr>
        <p:spPr bwMode="auto">
          <a:xfrm rot="5400000">
            <a:off x="7341444" y="650422"/>
            <a:ext cx="145876" cy="2697749"/>
          </a:xfrm>
          <a:prstGeom prst="leftBrace">
            <a:avLst>
              <a:gd name="adj1" fmla="val 47706"/>
              <a:gd name="adj2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>
              <a:defRPr/>
            </a:pPr>
            <a:endParaRPr lang="en-US" kern="0" dirty="0" smtClean="0">
              <a:solidFill>
                <a:srgbClr val="000000"/>
              </a:solidFill>
              <a:latin typeface="+mj-lt"/>
              <a:ea typeface="宋体" pitchFamily="2" charset="-122"/>
            </a:endParaRPr>
          </a:p>
        </p:txBody>
      </p:sp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721726"/>
              </p:ext>
            </p:extLst>
          </p:nvPr>
        </p:nvGraphicFramePr>
        <p:xfrm>
          <a:off x="6122775" y="2058970"/>
          <a:ext cx="2592274" cy="320040"/>
        </p:xfrm>
        <a:graphic>
          <a:graphicData uri="http://schemas.openxmlformats.org/drawingml/2006/table">
            <a:tbl>
              <a:tblPr/>
              <a:tblGrid>
                <a:gridCol w="1931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0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0324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69 SP</a:t>
                      </a:r>
                      <a:endParaRPr lang="en-US" altLang="zh-CN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0.0%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03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69 OP</a:t>
                      </a:r>
                      <a:endParaRPr lang="en-US" altLang="zh-CN" sz="1000" b="0" i="0" u="none" strike="noStrike" kern="1200" dirty="0" smtClean="0"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+mj-lt"/>
                        </a:rPr>
                        <a:t>0.0%</a:t>
                      </a:r>
                      <a:endParaRPr lang="en-US" sz="1000" b="0" i="0" u="none" strike="noStrike" dirty="0">
                        <a:solidFill>
                          <a:srgbClr val="003366"/>
                        </a:solidFill>
                        <a:effectLst/>
                        <a:latin typeface="+mj-lt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6830566"/>
                  </a:ext>
                </a:extLst>
              </a:tr>
            </a:tbl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3931586" y="1666090"/>
            <a:ext cx="14879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200" b="1" dirty="0" smtClean="0">
                <a:solidFill>
                  <a:srgbClr val="000000"/>
                </a:solidFill>
                <a:latin typeface="+mj-lt"/>
                <a:ea typeface="宋体" pitchFamily="2" charset="-122"/>
              </a:rPr>
              <a:t>CAGR 2020E-2025E</a:t>
            </a:r>
            <a:endParaRPr lang="en-US" sz="1200" b="1" dirty="0">
              <a:solidFill>
                <a:srgbClr val="000000"/>
              </a:solidFill>
              <a:latin typeface="+mj-lt"/>
              <a:ea typeface="宋体" pitchFamily="2" charset="-122"/>
            </a:endParaRPr>
          </a:p>
        </p:txBody>
      </p:sp>
      <p:sp>
        <p:nvSpPr>
          <p:cNvPr id="35" name="Left Brace 34"/>
          <p:cNvSpPr/>
          <p:nvPr/>
        </p:nvSpPr>
        <p:spPr bwMode="auto">
          <a:xfrm rot="5400000">
            <a:off x="4387411" y="538658"/>
            <a:ext cx="137422" cy="2921279"/>
          </a:xfrm>
          <a:prstGeom prst="leftBrace">
            <a:avLst>
              <a:gd name="adj1" fmla="val 47706"/>
              <a:gd name="adj2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>
              <a:defRPr/>
            </a:pPr>
            <a:endParaRPr lang="en-US" kern="0" dirty="0" smtClean="0">
              <a:solidFill>
                <a:srgbClr val="000000"/>
              </a:solidFill>
              <a:latin typeface="+mj-lt"/>
              <a:ea typeface="宋体" pitchFamily="2" charset="-122"/>
            </a:endParaRPr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220190"/>
              </p:ext>
            </p:extLst>
          </p:nvPr>
        </p:nvGraphicFramePr>
        <p:xfrm>
          <a:off x="3105590" y="2058880"/>
          <a:ext cx="2726815" cy="320040"/>
        </p:xfrm>
        <a:graphic>
          <a:graphicData uri="http://schemas.openxmlformats.org/drawingml/2006/table">
            <a:tbl>
              <a:tblPr/>
              <a:tblGrid>
                <a:gridCol w="20322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45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4764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69 SP</a:t>
                      </a:r>
                      <a:endParaRPr lang="en-US" altLang="zh-CN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0.0%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47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69 OP</a:t>
                      </a:r>
                      <a:endParaRPr lang="en-US" altLang="zh-CN" sz="1000" b="0" i="0" u="none" strike="noStrike" kern="1200" dirty="0" smtClean="0"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%</a:t>
                      </a:r>
                      <a:endParaRPr lang="en-US" sz="1000" b="0" i="0" u="none" strike="noStrike" kern="1200" dirty="0" smtClean="0"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3481101"/>
                  </a:ext>
                </a:extLst>
              </a:tr>
            </a:tbl>
          </a:graphicData>
        </a:graphic>
      </p:graphicFrame>
      <p:sp>
        <p:nvSpPr>
          <p:cNvPr id="1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012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93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Audi </a:t>
            </a:r>
            <a:r>
              <a:rPr lang="en-US" dirty="0">
                <a:sym typeface="VWAG TheSans" panose="020B0502050302020203" pitchFamily="34" charset="0"/>
              </a:rPr>
              <a:t>Brand </a:t>
            </a:r>
            <a:r>
              <a:rPr lang="en-US" dirty="0" smtClean="0">
                <a:sym typeface="VWAG TheSans" panose="020B0502050302020203" pitchFamily="34" charset="0"/>
              </a:rPr>
              <a:t>(CKD &amp; FBU) Volume PR69.OP vs. PR69.SP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9407527"/>
              </p:ext>
            </p:extLst>
          </p:nvPr>
        </p:nvGraphicFramePr>
        <p:xfrm>
          <a:off x="248637" y="5024551"/>
          <a:ext cx="8302752" cy="14262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3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88650236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Delta (ppt) 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1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AW-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61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AIC 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6165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JV</a:t>
                      </a:r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TBD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9182056"/>
                  </a:ext>
                </a:extLst>
              </a:tr>
              <a:tr h="2361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BU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395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udi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Brand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Tota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4213531386"/>
              </p:ext>
            </p:extLst>
          </p:nvPr>
        </p:nvGraphicFramePr>
        <p:xfrm>
          <a:off x="1614275" y="2098923"/>
          <a:ext cx="7456714" cy="3076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76958" y="2403817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8798" y="6459619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31933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936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6604" name="think-cell Slide" r:id="rId34" imgW="470" imgH="469" progId="TCLayout.ActiveDocument.1">
                  <p:embed/>
                </p:oleObj>
              </mc:Choice>
              <mc:Fallback>
                <p:oleObj name="think-cell Slide" r:id="rId34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Audi </a:t>
            </a:r>
            <a:r>
              <a:rPr lang="en-US" dirty="0">
                <a:sym typeface="VWAG TheSans" panose="020B0502050302020203" pitchFamily="34" charset="0"/>
              </a:rPr>
              <a:t>Brand (CKD &amp; FBU) 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NEV</a:t>
            </a:r>
            <a:r>
              <a:rPr lang="en-US" dirty="0" smtClean="0">
                <a:sym typeface="VWAG TheSans" panose="020B0502050302020203" pitchFamily="34" charset="0"/>
              </a:rPr>
              <a:t> PR69.OP vs. PR69.SP </a:t>
            </a:r>
            <a:r>
              <a:rPr lang="en-US" dirty="0">
                <a:sym typeface="VWAG TheSans" panose="020B0502050302020203" pitchFamily="34" charset="0"/>
              </a:rPr>
              <a:t>- Acc. </a:t>
            </a:r>
            <a:r>
              <a:rPr lang="en-US" dirty="0" smtClean="0">
                <a:sym typeface="VWAG TheSans" panose="020B0502050302020203" pitchFamily="34" charset="0"/>
              </a:rPr>
              <a:t>Volumes (2020-2030)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cxnSp>
        <p:nvCxnSpPr>
          <p:cNvPr id="9" name="Straight Connector 8"/>
          <p:cNvCxnSpPr/>
          <p:nvPr>
            <p:custDataLst>
              <p:tags r:id="rId4"/>
            </p:custDataLst>
          </p:nvPr>
        </p:nvCxnSpPr>
        <p:spPr bwMode="auto">
          <a:xfrm>
            <a:off x="3025774" y="2517775"/>
            <a:ext cx="6810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auto">
          <a:xfrm>
            <a:off x="1493837" y="23399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auto">
          <a:xfrm>
            <a:off x="7623174" y="3228975"/>
            <a:ext cx="6810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4559299" y="25177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8"/>
            </p:custDataLst>
          </p:nvPr>
        </p:nvCxnSpPr>
        <p:spPr bwMode="auto">
          <a:xfrm>
            <a:off x="6091237" y="30511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Rectangle 40"/>
          <p:cNvSpPr/>
          <p:nvPr>
            <p:custDataLst>
              <p:tags r:id="rId9"/>
            </p:custDataLst>
          </p:nvPr>
        </p:nvSpPr>
        <p:spPr bwMode="auto">
          <a:xfrm>
            <a:off x="3706813" y="2514600"/>
            <a:ext cx="852487" cy="6350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0" name="Chart 49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51605001"/>
              </p:ext>
            </p:extLst>
          </p:nvPr>
        </p:nvGraphicFramePr>
        <p:xfrm>
          <a:off x="219075" y="2257425"/>
          <a:ext cx="9359900" cy="263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 useBgFill="1">
        <p:nvSpPr>
          <p:cNvPr id="13" name="Freeform 12"/>
          <p:cNvSpPr/>
          <p:nvPr>
            <p:custDataLst>
              <p:tags r:id="rId11"/>
            </p:custDataLst>
          </p:nvPr>
        </p:nvSpPr>
        <p:spPr bwMode="auto">
          <a:xfrm>
            <a:off x="595313" y="3863975"/>
            <a:ext cx="944563" cy="311151"/>
          </a:xfrm>
          <a:custGeom>
            <a:avLst/>
            <a:gdLst/>
            <a:ahLst/>
            <a:cxnLst/>
            <a:rect l="0" t="0" r="0" b="0"/>
            <a:pathLst>
              <a:path w="944563" h="311151">
                <a:moveTo>
                  <a:pt x="0" y="254000"/>
                </a:moveTo>
                <a:lnTo>
                  <a:pt x="944562" y="0"/>
                </a:lnTo>
                <a:lnTo>
                  <a:pt x="944562" y="57150"/>
                </a:lnTo>
                <a:lnTo>
                  <a:pt x="0" y="3111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35" name="Freeform 34"/>
          <p:cNvSpPr/>
          <p:nvPr>
            <p:custDataLst>
              <p:tags r:id="rId12"/>
            </p:custDataLst>
          </p:nvPr>
        </p:nvSpPr>
        <p:spPr bwMode="auto">
          <a:xfrm>
            <a:off x="8258175" y="3863975"/>
            <a:ext cx="944564" cy="311151"/>
          </a:xfrm>
          <a:custGeom>
            <a:avLst/>
            <a:gdLst/>
            <a:ahLst/>
            <a:cxnLst/>
            <a:rect l="0" t="0" r="0" b="0"/>
            <a:pathLst>
              <a:path w="944564" h="311151">
                <a:moveTo>
                  <a:pt x="0" y="254000"/>
                </a:moveTo>
                <a:lnTo>
                  <a:pt x="944563" y="0"/>
                </a:lnTo>
                <a:lnTo>
                  <a:pt x="944563" y="57150"/>
                </a:lnTo>
                <a:lnTo>
                  <a:pt x="0" y="3111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Freeform 11"/>
          <p:cNvSpPr/>
          <p:nvPr>
            <p:custDataLst>
              <p:tags r:id="rId13"/>
            </p:custDataLst>
          </p:nvPr>
        </p:nvSpPr>
        <p:spPr bwMode="auto">
          <a:xfrm>
            <a:off x="595313" y="3921125"/>
            <a:ext cx="944563" cy="254001"/>
          </a:xfrm>
          <a:custGeom>
            <a:avLst/>
            <a:gdLst/>
            <a:ahLst/>
            <a:cxnLst/>
            <a:rect l="0" t="0" r="0" b="0"/>
            <a:pathLst>
              <a:path w="944563" h="254001">
                <a:moveTo>
                  <a:pt x="0" y="254000"/>
                </a:moveTo>
                <a:lnTo>
                  <a:pt x="94456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4"/>
            </p:custDataLst>
          </p:nvPr>
        </p:nvSpPr>
        <p:spPr bwMode="auto">
          <a:xfrm>
            <a:off x="595313" y="3863975"/>
            <a:ext cx="944563" cy="254001"/>
          </a:xfrm>
          <a:custGeom>
            <a:avLst/>
            <a:gdLst/>
            <a:ahLst/>
            <a:cxnLst/>
            <a:rect l="0" t="0" r="0" b="0"/>
            <a:pathLst>
              <a:path w="944563" h="254001">
                <a:moveTo>
                  <a:pt x="0" y="254000"/>
                </a:moveTo>
                <a:lnTo>
                  <a:pt x="94456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5"/>
            </p:custDataLst>
          </p:nvPr>
        </p:nvSpPr>
        <p:spPr bwMode="auto">
          <a:xfrm>
            <a:off x="8258175" y="3863975"/>
            <a:ext cx="944564" cy="254001"/>
          </a:xfrm>
          <a:custGeom>
            <a:avLst/>
            <a:gdLst/>
            <a:ahLst/>
            <a:cxnLst/>
            <a:rect l="0" t="0" r="0" b="0"/>
            <a:pathLst>
              <a:path w="944564" h="254001">
                <a:moveTo>
                  <a:pt x="0" y="254000"/>
                </a:moveTo>
                <a:lnTo>
                  <a:pt x="94456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Freeform 14"/>
          <p:cNvSpPr/>
          <p:nvPr>
            <p:custDataLst>
              <p:tags r:id="rId16"/>
            </p:custDataLst>
          </p:nvPr>
        </p:nvSpPr>
        <p:spPr bwMode="auto">
          <a:xfrm>
            <a:off x="8258175" y="3921125"/>
            <a:ext cx="944564" cy="254001"/>
          </a:xfrm>
          <a:custGeom>
            <a:avLst/>
            <a:gdLst/>
            <a:ahLst/>
            <a:cxnLst/>
            <a:rect l="0" t="0" r="0" b="0"/>
            <a:pathLst>
              <a:path w="944564" h="254001">
                <a:moveTo>
                  <a:pt x="0" y="254000"/>
                </a:moveTo>
                <a:lnTo>
                  <a:pt x="94456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7"/>
            </p:custDataLst>
          </p:nvPr>
        </p:nvCxnSpPr>
        <p:spPr bwMode="auto">
          <a:xfrm flipV="1">
            <a:off x="1066800" y="1998663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8"/>
            </p:custDataLst>
          </p:nvPr>
        </p:nvCxnSpPr>
        <p:spPr bwMode="auto">
          <a:xfrm>
            <a:off x="1066800" y="1998663"/>
            <a:ext cx="766286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9"/>
            </p:custDataLst>
          </p:nvPr>
        </p:nvCxnSpPr>
        <p:spPr bwMode="auto">
          <a:xfrm>
            <a:off x="8729663" y="1998663"/>
            <a:ext cx="0" cy="965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Rectangle 2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22325" y="4852988"/>
            <a:ext cx="4889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EB43BD-DD59-4ECF-B903-58EE004B0156}" type="datetime''' P''''''''R''69.''SP&#10;''''''Of''''f''i''''ci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
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343150" y="2227263"/>
            <a:ext cx="511175" cy="40322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7099489-89C4-4C46-929E-A3CBC8D037FD}" type="datetime'''''''''''''-''''''''''''''''''''''''''1''0'''''''''''''">
              <a:rPr lang="en-US" altLang="en-US" sz="12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10</a:t>
            </a:fld>
            <a:endParaRPr kumimoji="0" lang="en-US" altLang="en-US" sz="12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(-1.2%)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909763" y="4852988"/>
            <a:ext cx="13779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3286F0-EC06-4FC1-83E3-00D0EA9C4136}" type="datetime'P''rem. N''''''EV'''''''' M''ar''''ke''t'' ''Effec''t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em. NEV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3736975" y="4852988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408613" y="2582863"/>
            <a:ext cx="5111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966D3FE-3AE9-4981-91AF-B250E27FFE8F}" type="datetime'''''''''''''''''''''''''''''''''''''-''''''''''30'''''''''">
              <a:rPr lang="en-US" altLang="en-US" sz="12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30</a:t>
            </a:fld>
            <a:endParaRPr kumimoji="0" lang="en-US" altLang="en-US" sz="12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(-1.4%)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205413" y="4852988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940550" y="2938463"/>
            <a:ext cx="511175" cy="40322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313B2FF-AF8F-4D59-AD3D-75E21816D2E9}" type="datetime'''''''''''''''''''''''''''''''-1''''''''''''''0'''''''''''''">
              <a:rPr lang="en-US" altLang="en-US" sz="12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10</a:t>
            </a:fld>
            <a:endParaRPr lang="en-US" altLang="en-US" sz="1200" b="1" dirty="0" smtClean="0">
              <a:solidFill>
                <a:srgbClr val="FFFFFF"/>
              </a:solidFill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sz="1200" b="1" i="0" strike="noStrike" kern="1200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VWAG TheSans" panose="020B0502050302020203" pitchFamily="34" charset="0"/>
              </a:rPr>
              <a:t>(-4.3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837363" y="4852988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472488" y="4852988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FE80F46-0AAE-4528-88EA-76C036EC4D78}" type="datetime' P''R''''''''''6''''9''''''.''O''''''''''''''''''''''''P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57250" y="2112963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855E25F-DCF4-429D-AFA3-EB608498BD7F}" type="datetime'''2'''''''''''''''''''''''''''''''''''''''',''''00''''0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520113" y="3001963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AB04804-383E-4D87-B3D8-83EEDE9415F8}" type="datetime'1'''''''''''''''''''''',''''''''9''''''''''''''50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95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567238" y="1712913"/>
            <a:ext cx="660400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5BF6F01-7B99-42B8-986D-B1BC598D4495}" type="datetime'-''''''''''''''''''''5''''''''''''''''''''''''''''''''''''0''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5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(</a:t>
            </a:r>
            <a:fld id="{10D4C6D9-1A79-4DF1-8484-842A69B4C1C1}" type="datetime'''''''-''''''''''''2''''.''''5''''''''''%''''''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2.5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00849" y="1525660"/>
            <a:ext cx="655984" cy="3016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0936347"/>
              </p:ext>
            </p:extLst>
          </p:nvPr>
        </p:nvGraphicFramePr>
        <p:xfrm>
          <a:off x="300849" y="5248598"/>
          <a:ext cx="9195571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191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3094053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em.</a:t>
                      </a:r>
                      <a:r>
                        <a:rPr lang="en-US" sz="900" b="1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</a:t>
                      </a:r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102414"/>
              </p:ext>
            </p:extLst>
          </p:nvPr>
        </p:nvGraphicFramePr>
        <p:xfrm>
          <a:off x="5055764" y="3298890"/>
          <a:ext cx="1232901" cy="7538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5032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17869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82802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51656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JV</a:t>
                      </a:r>
                      <a:r>
                        <a:rPr lang="en-US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TBD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  <a:tr h="13269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6 Li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50675"/>
                  </a:ext>
                </a:extLst>
              </a:tr>
              <a:tr h="13269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6 Coupe e-</a:t>
                      </a:r>
                      <a:r>
                        <a:rPr lang="en-US" sz="700" u="none" strike="noStrike" dirty="0" err="1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r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4486100"/>
                  </a:ext>
                </a:extLst>
              </a:tr>
              <a:tr h="154015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6 e-</a:t>
                      </a:r>
                      <a:r>
                        <a:rPr lang="en-US" sz="700" u="none" strike="noStrike" dirty="0" err="1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r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6087273"/>
                  </a:ext>
                </a:extLst>
              </a:tr>
            </a:tbl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408798" y="6459619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857586"/>
              </p:ext>
            </p:extLst>
          </p:nvPr>
        </p:nvGraphicFramePr>
        <p:xfrm>
          <a:off x="1866208" y="3298890"/>
          <a:ext cx="141674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74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407998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3928266"/>
              </p:ext>
            </p:extLst>
          </p:nvPr>
        </p:nvGraphicFramePr>
        <p:xfrm>
          <a:off x="6526213" y="3298890"/>
          <a:ext cx="1333500" cy="400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9694">
                  <a:extLst>
                    <a:ext uri="{9D8B030D-6E8A-4147-A177-3AD203B41FA5}">
                      <a16:colId xmlns:a16="http://schemas.microsoft.com/office/drawing/2014/main" val="4018743606"/>
                    </a:ext>
                  </a:extLst>
                </a:gridCol>
                <a:gridCol w="343806">
                  <a:extLst>
                    <a:ext uri="{9D8B030D-6E8A-4147-A177-3AD203B41FA5}">
                      <a16:colId xmlns:a16="http://schemas.microsoft.com/office/drawing/2014/main" val="616237163"/>
                    </a:ext>
                  </a:extLst>
                </a:gridCol>
              </a:tblGrid>
              <a:tr h="12197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r>
                        <a:rPr lang="en-US" altLang="zh-CN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412418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JV TB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059750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FB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344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0829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601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de-DE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538352177"/>
              </p:ext>
            </p:extLst>
          </p:nvPr>
        </p:nvGraphicFramePr>
        <p:xfrm>
          <a:off x="1631092" y="2663686"/>
          <a:ext cx="7092778" cy="2537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Audi Brand </a:t>
            </a:r>
            <a:r>
              <a:rPr lang="en-US" dirty="0">
                <a:sym typeface="VWAG TheSans" panose="020B0502050302020203" pitchFamily="34" charset="0"/>
              </a:rPr>
              <a:t>(CKD &amp; FBU)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 NEV Volume PR69.OP vs. PR69.SP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558722"/>
              </p:ext>
            </p:extLst>
          </p:nvPr>
        </p:nvGraphicFramePr>
        <p:xfrm>
          <a:off x="430887" y="5075184"/>
          <a:ext cx="8211312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8987472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Delta (ppt) </a:t>
                      </a: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9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AW-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9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AIC VW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JV</a:t>
                      </a:r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TBD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01817"/>
                  </a:ext>
                </a:extLst>
              </a:tr>
              <a:tr h="1989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FBU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udi Brand</a:t>
                      </a:r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Total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627239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75006" y="2908586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76958" y="1451024"/>
            <a:ext cx="9119467" cy="712711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indent="-228600">
              <a:spcBef>
                <a:spcPts val="52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spcBef>
                <a:spcPts val="52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spcBef>
                <a:spcPts val="52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08798" y="6459619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32694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501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990" name="think-cell Slide" r:id="rId35" imgW="470" imgH="469" progId="TCLayout.ActiveDocument.1">
                  <p:embed/>
                </p:oleObj>
              </mc:Choice>
              <mc:Fallback>
                <p:oleObj name="think-cell Slide" r:id="rId35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53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47" name="Chart 46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1553775"/>
              </p:ext>
            </p:extLst>
          </p:nvPr>
        </p:nvGraphicFramePr>
        <p:xfrm>
          <a:off x="1133475" y="2419350"/>
          <a:ext cx="8453438" cy="2538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52" name="Rectangle 51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17036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E633025-084B-41DF-8792-378C978A6DC1}" type="datetime'''''''''''''''''''''''''4''''''.''''''0''''''''''%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098675" y="41497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B7F2B4-3959-4812-B54C-BD1B88463F42}" type="datetime'''''''''''''5''''''''.''''''''''''''''''0%'''''''">
              <a:rPr lang="en-US" altLang="en-US" sz="1000" b="1" smtClean="0"/>
              <a:pPr algn="ctr">
                <a:spcAft>
                  <a:spcPct val="0"/>
                </a:spcAft>
              </a:pPr>
              <a:t>5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40811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0A2DB3-D343-439A-A485-FE5955399AC7}" type="datetime'''''''''''''4''''''.''''''''''''''0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58" name="Rectangle 5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6243638" y="4184650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33C7579-5173-4F3B-A359-436205142C21}" type="datetime'''''4''''''''''''''.''8''''''''''''''%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65" name="Rectangle 6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9005888" y="4168775"/>
            <a:ext cx="30480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4547CE1-CF70-4FAA-9D57-52DAD2BEC7E1}" type="datetime'''''''''''''''''''''''''''''4''.''''''8''''%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789238" y="40703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05B143A-1849-44CB-BEDC-0C7551A8554D}" type="datetime'''''''''''''6''.''''''''''''''''''''0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479800" y="41656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88B7AB-4A59-474D-9E6A-9C70C589B922}" type="datetime'''''5''''''''''''''''''''''''''.''0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4862513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BA9F31A-422F-4072-BCE2-883BE926AB4B}" type="datetime'''''''4''''''''''.''''''''''''''8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56" name="Rectangle 55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553075" y="4184650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FD72876-0A13-4584-BF9A-4FCE2753DD89}" type="datetime'''''''''''4.''''''''''''''''''''''''''8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59" name="Rectangle 58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934200" y="4184650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4086F3-04E8-4FD5-9BEB-24118DC8FE0D}" type="datetime'4''''''''''''''''''''''''''''''''''''''.''8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61" name="Rectangle 6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7624763" y="4184650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DCB7A31-804B-4EDD-B909-A447E4E1AD4D}" type="datetime'''''''''''''4''''''''''.''''''''''8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63" name="Rectangle 6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8315325" y="4184650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785F952-4089-400F-9E30-71EB9BA11346}" type="datetime'''''''''4.''''''8%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1438275" y="41084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4743966-1081-4D27-864C-76D80FF96F95}" type="datetime'''''''''7''''''''''''''''''''''''''''''''3''''''0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3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128838" y="3981450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9A4901A-0ED3-49BB-B380-03834D71A6AE}" type="datetime'''9''''''''''''''''''''''''''''''''00'''''''''''''''''''''''">
              <a:rPr lang="en-US" altLang="en-US" sz="1000" b="1" smtClean="0"/>
              <a:pPr algn="ctr">
                <a:spcAft>
                  <a:spcPct val="0"/>
                </a:spcAft>
              </a:pPr>
              <a:t>900</a:t>
            </a:fld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68" name="Rectangle 67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659063" y="4264025"/>
            <a:ext cx="244475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0D58C03-521A-451A-9272-C0B0BEC77A2F}" type="datetime'''''''''''''''''''''''''''''''''''7''3''0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3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3509963" y="40132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7DD61E0-E7E8-43A5-9664-75006113679C}" type="datetime'''9''''''''''''''''''''0''''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4200525" y="41084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ACED5C6-1F84-4082-B9F5-1B1CEDABCBB7}" type="datetime'''''''''''''''''''73''''''''''''''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3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4891088" y="40322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CDDE87-2992-4940-87F9-0234D237554A}" type="datetime'''9''''''''''''''''''''''''''''''''''''0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532438" y="40322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9894370-C7A1-46D1-A8A6-991C2BE1DC0B}" type="datetime'''''''''''''1'''''''''''''''''''''''''''''',''''''0''0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223000" y="40322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6FC5AF9-8560-45F3-888F-E5DE50D3B0CE}" type="datetime'1'''''''''''''',''0''''''''''''''0''''0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6913563" y="40322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9FE45CD-C76F-4FC7-A3DE-166801D2B40E}" type="datetime'''''''1'''''''''''''''''',''0''''''''''''''''''0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604125" y="40322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829C35C-7126-45D2-B627-6E2DE0F896AC}" type="datetime'1'',0''''''''''0''''0''''''''''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8294688" y="4016375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945EBF1-D655-4CAA-BC16-DE0A4C18B514}" type="datetime'''''''''''''1'''''''',''00''''''''''''''''''''''''''0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985250" y="400050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9EDD534-C269-4303-8A3E-2FC13C601297}" type="datetime'1'''''''''',''0''''''0''''''0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6" name="Rectangle 75"/>
          <p:cNvSpPr/>
          <p:nvPr>
            <p:custDataLst>
              <p:tags r:id="rId29"/>
            </p:custDataLst>
          </p:nvPr>
        </p:nvSpPr>
        <p:spPr bwMode="auto">
          <a:xfrm>
            <a:off x="650875" y="3930650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30"/>
            </p:custDataLst>
          </p:nvPr>
        </p:nvCxnSpPr>
        <p:spPr bwMode="auto">
          <a:xfrm>
            <a:off x="620713" y="38100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Oval 76"/>
          <p:cNvSpPr/>
          <p:nvPr>
            <p:custDataLst>
              <p:tags r:id="rId31"/>
            </p:custDataLst>
          </p:nvPr>
        </p:nvSpPr>
        <p:spPr bwMode="auto">
          <a:xfrm>
            <a:off x="666750" y="37846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44550" y="3752850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826833CC-24F0-4E2A-86F8-F52BCDE66F3F}" type="datetime'N''''''E''''''''''''V'' ''''''''''''''''''''M''''''''''S%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44550" y="39258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7295198"/>
              </p:ext>
            </p:extLst>
          </p:nvPr>
        </p:nvGraphicFramePr>
        <p:xfrm>
          <a:off x="401445" y="4986938"/>
          <a:ext cx="9112675" cy="135331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1031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+mj-lt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+mj-lt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  <a:r>
                        <a:rPr lang="en-US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H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latin typeface="+mj-lt"/>
                        </a:rPr>
                        <a:t>MQB/MLB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+mj-lt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PE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612775" y="3416327"/>
            <a:ext cx="584093" cy="2974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units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3520811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954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olkswagen Group China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W Brand Passenger Car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33" name="Rectangle 4"/>
          <p:cNvSpPr>
            <a:spLocks noChangeArrowheads="1"/>
          </p:cNvSpPr>
          <p:nvPr/>
        </p:nvSpPr>
        <p:spPr bwMode="auto">
          <a:xfrm>
            <a:off x="411132" y="4126056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5</a:t>
            </a:r>
          </a:p>
        </p:txBody>
      </p: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411132" y="4717894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6</a:t>
            </a: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auto">
          <a:xfrm>
            <a:off x="411132" y="5309732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7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Jetta Brand 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1012175" y="4126056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 </a:t>
            </a:r>
            <a:r>
              <a:rPr lang="en-US" altLang="zh-CN" sz="1800" b="1" dirty="0" err="1">
                <a:solidFill>
                  <a:srgbClr val="FFFFFF"/>
                </a:solidFill>
                <a:latin typeface="VWAG TheSans"/>
                <a:sym typeface="VWAG TheSans"/>
              </a:rPr>
              <a:t>Cupra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 Brand 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1012175" y="4717894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Audi Brand</a:t>
            </a: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1012175" y="5309732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Skoda Brand</a:t>
            </a:r>
          </a:p>
        </p:txBody>
      </p:sp>
    </p:spTree>
    <p:extLst>
      <p:ext uri="{BB962C8B-B14F-4D97-AF65-F5344CB8AC3E}">
        <p14:creationId xmlns:p14="http://schemas.microsoft.com/office/powerpoint/2010/main" val="663935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81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727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113" y="910481"/>
            <a:ext cx="9104312" cy="684213"/>
          </a:xfrm>
        </p:spPr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Skoda Brand Cycle Plan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158690"/>
              </p:ext>
            </p:extLst>
          </p:nvPr>
        </p:nvGraphicFramePr>
        <p:xfrm>
          <a:off x="392113" y="1767959"/>
          <a:ext cx="9109275" cy="2271931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821855">
                  <a:extLst>
                    <a:ext uri="{9D8B030D-6E8A-4147-A177-3AD203B41FA5}">
                      <a16:colId xmlns:a16="http://schemas.microsoft.com/office/drawing/2014/main" val="806253177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3404441349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365394444"/>
                    </a:ext>
                  </a:extLst>
                </a:gridCol>
              </a:tblGrid>
              <a:tr h="3516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 of Chan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S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O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emarks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w Project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 Main NB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indent="0" algn="ctr" fontAlgn="ctr">
                        <a:spcBef>
                          <a:spcPts val="100"/>
                        </a:spcBef>
                      </a:pPr>
                      <a:r>
                        <a:rPr 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un-2023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Big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PA of Octavia A7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04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ancelled Products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       Lounge </a:t>
                      </a:r>
                      <a:r>
                        <a:rPr kumimoji="0" lang="en-US" sz="100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SUVe</a:t>
                      </a:r>
                      <a:endParaRPr kumimoji="0" lang="en-US" sz="100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52388" marR="0" lvl="0" indent="-52388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SOP: Sep-2023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3768425"/>
                  </a:ext>
                </a:extLst>
              </a:tr>
              <a:tr h="32004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       A Entry NB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SOP: Sep-2022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Shift to SAIC VW </a:t>
                      </a:r>
                      <a:r>
                        <a:rPr kumimoji="0" 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VW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6433533"/>
                  </a:ext>
                </a:extLst>
              </a:tr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LC</a:t>
                      </a: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pr-2022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indent="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Mar-2023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11 months </a:t>
                      </a: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16120408"/>
                  </a:ext>
                </a:extLst>
              </a:tr>
              <a:tr h="32004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 Pull Ahead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apid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3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6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8820676"/>
                  </a:ext>
                </a:extLst>
              </a:tr>
              <a:tr h="32004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apid </a:t>
                      </a:r>
                      <a:r>
                        <a:rPr lang="en-US" sz="1000" baseline="0" dirty="0" err="1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pb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.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3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6 months Pull ahead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378230"/>
                  </a:ext>
                </a:extLst>
              </a:tr>
            </a:tbl>
          </a:graphicData>
        </a:graphic>
      </p:graphicFrame>
      <p:sp>
        <p:nvSpPr>
          <p:cNvPr id="10" name="Up Arrow 9"/>
          <p:cNvSpPr/>
          <p:nvPr/>
        </p:nvSpPr>
        <p:spPr bwMode="auto">
          <a:xfrm>
            <a:off x="1844702" y="2152094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Up Arrow 10"/>
          <p:cNvSpPr/>
          <p:nvPr/>
        </p:nvSpPr>
        <p:spPr bwMode="auto">
          <a:xfrm flipV="1">
            <a:off x="1844702" y="2667605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2" name="Up Arrow 11"/>
          <p:cNvSpPr/>
          <p:nvPr/>
        </p:nvSpPr>
        <p:spPr bwMode="auto">
          <a:xfrm flipV="1">
            <a:off x="1844702" y="3169862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4" name="Up Arrow 13"/>
          <p:cNvSpPr/>
          <p:nvPr/>
        </p:nvSpPr>
        <p:spPr bwMode="auto">
          <a:xfrm flipV="1">
            <a:off x="1844702" y="3632363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8798" y="6419499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Green front refers to NEV products; </a:t>
            </a:r>
            <a:r>
              <a:rPr lang="en-US" sz="800" dirty="0">
                <a:latin typeface="+mj-lt"/>
              </a:rPr>
              <a:t>Major changes of model cycle plan were considered</a:t>
            </a:r>
          </a:p>
        </p:txBody>
      </p:sp>
    </p:spTree>
    <p:extLst>
      <p:ext uri="{BB962C8B-B14F-4D97-AF65-F5344CB8AC3E}">
        <p14:creationId xmlns:p14="http://schemas.microsoft.com/office/powerpoint/2010/main" val="2633707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235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8297" name="think-cell Slide" r:id="rId66" imgW="470" imgH="469" progId="TCLayout.ActiveDocument.1">
                  <p:embed/>
                </p:oleObj>
              </mc:Choice>
              <mc:Fallback>
                <p:oleObj name="think-cell Slide" r:id="rId6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8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Skoda Brand 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5" name="Chart 94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26851424"/>
              </p:ext>
            </p:extLst>
          </p:nvPr>
        </p:nvGraphicFramePr>
        <p:xfrm>
          <a:off x="1147763" y="2619375"/>
          <a:ext cx="8431212" cy="314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21" name="Rectangle 2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146300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452547-61A6-4E46-91CA-A63371423982}" type="datetime'2''''''0''''''''2''''''''''''''''''''0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141538" y="4556125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CAA407B-3E70-4D70-B8E8-CBC8A327BBBE}" type="datetime'''''''''''''''''''''''''''''''''''''''''''25''0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2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524250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7023C5-829F-4805-B923-5672153B9755}" type="datetime'''''''''''''''2''''''''''''0''''''''''''''''''''''''2''2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111375" y="3363913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FCB2B54-30D7-4437-87EF-DBE289D922A7}" type="datetime'''''''''''1''.''''''''1''%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.1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422400" y="34623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62571CF-A60D-47C1-9AB0-D6C4F74F35C8}" type="datetime'''''''''''''''''''''''''''1.0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5610225" y="4683125"/>
            <a:ext cx="1952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5C9E4EF-12FC-452B-AC87-2EC87A19CC00}" type="datetime'''''''''''''''''''''''''''''''''''''''''''''''5''0''''0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835275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C227A6-A41C-4528-88E8-D7DDAA106CC7}" type="datetime'''''''''''''''''''''2''''''''''''''''0''''''''2''''''''''1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457325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20ADE8-9339-4367-A7B5-05721C20C669}" type="datetime'''''2''''''''''''''''''0''''''''''''''''''''1''''''''''9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6299200" y="4595813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D703FA1-8F09-46D8-9B72-143B4CA38842}" type="datetime'''''5''''''''''''''''''''''''''''5''''''''''0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800350" y="32972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15C9CD4-4EC4-477D-8B9A-AD90E43DCCEB}" type="datetime'1''''''''''''''''''''''.2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2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233863" y="4875213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1CCB15D-414E-44BA-9345-E3653C6CFF7F}" type="datetime'''''''''''''''''4''0''''''''''0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3489325" y="32146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9FE1179-B11C-445D-BBF7-8BE3F7CBA914}" type="datetime'''''''''''1''''''''''''''''''''''''''''''.''3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3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9034463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0427FB-3C8A-4011-B704-14A214B04D85}" type="datetime'''''''''''2''''''''''''0''''3''''''''''''''''0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4178300" y="31321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7887A20-39E3-472D-8379-610476FD6FC2}" type="datetime'''''''''1.''4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4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651750" y="30368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D91596E-B4C4-48AF-AC7A-DBAC56FE493F}" type="datetime'''''''''''''''''''''''''''6''5''''''''''''''''''6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56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4289425" y="4129088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08A3A8A-741B-4856-B246-31AE8C9C6B80}" type="datetime'''''''''1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4208463" y="39766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FBF7378-010E-4376-B6B8-BF8E0CEBB63F}" type="datetime'''''4''''''''''''''''''''''''0''''''''''''''''''''1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4213225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3049D8-BAF7-4370-ACEB-3F8F6265BD82}" type="datetime'''''''''2''''''''''0''''''''''''''''''2''''''''''3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7656513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638F85-5364-4492-AA07-E5872AA99943}" type="datetime'''''''''''2''''''0''''''''''2''''''8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867275" y="30495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6A9D917-9EBB-41DF-9FCD-FC3E850D4D71}" type="datetime'1''''''.''''''''''''''''''''5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5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4978400" y="3940175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D0A4B06-5009-472D-B01F-E76520829CDB}" type="datetime'''''''''''''''''''''2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4922838" y="4781550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92E51B3-4624-414E-9DD5-45E9AA0D8682}" type="datetime'''''''''''''''''''4''5''''''''0''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4902200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F3CCD4-3BA8-4FB5-BE23-76A7F9A3F63E}" type="datetime'''''''''''''2''''''''''''0''''2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5554663" y="29670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13DC629-04C5-44AF-8304-846F2438B997}" type="datetime'''''''''''''''''1''.''''''''''''''''''''''''''''''''''6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6932613" y="28003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9118EE9-3BE8-4EB7-AD6E-50E04B1BDE79}" type="datetime'1''''''''''''''''''.''''''''''''''''''''''''''''''''8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8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5553075" y="3690938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BB544CE-F762-4A6B-96ED-D5C6F6F9976A}" type="datetime'''''''''''''''''''''''''''''''''''''3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6FB6976E-58BC-4BB6-AA80-37F6CD420560}" type="datetime'''''0''''''''''''''''''''''''.''''6%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6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9029700" y="24003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8D74D7D-5664-4633-95DD-763067710FB2}" type="datetime'''''7''''5''''''''''''''''''''''''''''''''''''''''8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58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5589588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B955E8-DE78-4CAE-AF77-F687F501E968}" type="datetime'''''''''''''''''''''2''''''''''''''0''''''2''''5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6243638" y="28844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B3CA475-4269-4B71-8FDC-140147861AB8}" type="datetime'1''''''''''''''''''''''''''.''''7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7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6354763" y="3563938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FDB5CC8-BC75-4D48-99A1-7F9C0D5D4E6B}" type="datetime'4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 useBgFill="1">
        <p:nvSpPr>
          <p:cNvPr id="20" name="Rectangle 1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8180388" y="2847975"/>
            <a:ext cx="244475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BCAB0EE-3E1D-489E-8F8B-23DBE23E2C08}" type="datetime'''''7''''''0''''''''''''7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07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6278563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7C662A-8396-4AB6-BA4F-83118A3BE854}" type="datetime'''''2''''''''''''''''0''''''''''''''''2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6988175" y="4502150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152D0B4-6BF6-47D1-A2B5-D1657B9C3566}" type="datetime'''6''0''''''''''''''''''''''''''''''''''''''''''''''''0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7043738" y="3376613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AFD2EE0-A41D-47C4-8AAE-8CA0E6396382}" type="datetime'''''''''''5''''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6967538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36A238-F014-4DCD-B76E-992286F4F6AB}" type="datetime'''20''''''''''''''27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7621588" y="27178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EF3F3C2-07FC-408F-B675-9D22514D204E}" type="datetime'''''''''''''''''''''''''''1''''''.''''''''''''9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9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7732713" y="3189288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E9B34C7-52E8-473F-B7A6-1D7E644CEBDD}" type="datetime'''''''''''''''''''''''''''''''''''''''''''''''''6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7677150" y="4410075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8F06991-0997-450D-A109-F417AE25D601}" type="datetime'''''6''''''''''''''''5''''''''''''''''''''''0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8310563" y="26352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C146272-EAB7-4057-956C-D7BE9E9FC651}" type="datetime'2''''.0''''''''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8366125" y="4316413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8F9A9B6-B4AC-43F1-BC7E-7464ECCE3DB0}" type="datetime'''''7''''''''''''''0''''''''''''''''''''''''''''''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8421688" y="3000375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348FFA9-1B2A-4990-BAAD-F15CA65BDE95}" type="datetime'''''''''''''''''''''''''''''''''7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8345488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D98A82-F53A-48EC-94E3-8BB20E29B620}" type="datetime'''''''2''''''0''''''''''''''''''''''''''''''2''''9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8999538" y="25527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ADDD037-0FE9-4DA6-9185-6C4740388989}" type="datetime'''''2''''''''''''.''''''''''''''''''''''1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8997951" y="2749550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2E55DBC-372C-4E61-8826-FE35882CFD44}" type="datetime'''''''''''''''''''''''''''''''''''''''8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4629BCEB-CE10-489C-954A-35426E354403}" type="datetime'''''''''''''''''''''''1''''''.''1''''''''''''''''''''''%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1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9055100" y="4222750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22B5C8A-4AE0-4B38-AA43-94A607408377}" type="datetime'''''7''''''''5''''''''''''''0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1452563" y="47577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ED46723-818F-4067-B372-9D5D57ECF039}" type="datetime'''''''''''''''''''''2''''''''''''''''''''''''0''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2830513" y="43862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7E0DEC9-8A76-4AA6-91A4-662B625E98B4}" type="datetime'''''''''''''''''''''''''''''''''''''3''''''''''0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3519488" y="41989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9934EB8-CB08-4560-8FCF-7FE1E70C3C62}" type="datetime'''''''3''''''''5''''''''''''''''''0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4897438" y="37877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5C15905-7308-4E4D-8004-23BB45E1551A}" type="datetime'''''''''45''''''2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5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5584825" y="35385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F80F08B-D070-4680-9131-CBE749457D03}" type="datetime'5''0''''''''''''''''''''''3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3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6273800" y="34115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BA4BAEB-C013-4212-B64D-0B1340AE7827}" type="datetime'''''5''''''''''''''''''''''''''''''''''''''''''''5''''4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54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6962775" y="32242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4D137E1-03C2-43E8-9F95-623542EAC818}" type="datetime'6''0''''''''''''''''''''''''''''''5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5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1" name="Rectangle 70"/>
          <p:cNvSpPr/>
          <p:nvPr>
            <p:custDataLst>
              <p:tags r:id="rId57"/>
            </p:custDataLst>
          </p:nvPr>
        </p:nvSpPr>
        <p:spPr bwMode="auto">
          <a:xfrm>
            <a:off x="477838" y="3887788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58"/>
            </p:custDataLst>
          </p:nvPr>
        </p:nvCxnSpPr>
        <p:spPr bwMode="auto">
          <a:xfrm>
            <a:off x="447675" y="35941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Rectangle 69"/>
          <p:cNvSpPr/>
          <p:nvPr>
            <p:custDataLst>
              <p:tags r:id="rId59"/>
            </p:custDataLst>
          </p:nvPr>
        </p:nvSpPr>
        <p:spPr bwMode="auto">
          <a:xfrm>
            <a:off x="477838" y="3714750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2" name="Oval 71"/>
          <p:cNvSpPr/>
          <p:nvPr>
            <p:custDataLst>
              <p:tags r:id="rId60"/>
            </p:custDataLst>
          </p:nvPr>
        </p:nvSpPr>
        <p:spPr bwMode="auto">
          <a:xfrm>
            <a:off x="493713" y="35687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auto">
          <a:xfrm>
            <a:off x="671514" y="3536950"/>
            <a:ext cx="2190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3FD3EC26-17C4-4073-9D1D-8FD8585035A4}" type="datetime'''''''''''''M''''''''''''''''''''''''''''S''''%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MS%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auto">
          <a:xfrm>
            <a:off x="671513" y="37099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744EC7-2293-473F-97E3-06C8268B9D19}" type="datetime'''''''''''''N''''''''''''E''''''''V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671513" y="3883025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29D29B-151D-41B2-B8AE-4EC31DDF71F4}" type="datetime'''''''''''I''''''''''C''''''''E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CE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746449"/>
              </p:ext>
            </p:extLst>
          </p:nvPr>
        </p:nvGraphicFramePr>
        <p:xfrm>
          <a:off x="392113" y="5731459"/>
          <a:ext cx="9122228" cy="685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V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CE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93795" y="3018339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376958" y="1317041"/>
            <a:ext cx="9119467" cy="797509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indent="-228600">
              <a:spcBef>
                <a:spcPts val="52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2022 to 2024 </a:t>
            </a:r>
            <a:r>
              <a:rPr lang="en-US" sz="900" dirty="0">
                <a:latin typeface="VWAG TheSans" panose="020B0502050302020203" pitchFamily="34" charset="0"/>
                <a:sym typeface="VWAG TheSans" panose="020B0502050302020203" pitchFamily="34" charset="0"/>
              </a:rPr>
              <a:t>market </a:t>
            </a: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share changes mainly due to:</a:t>
            </a:r>
          </a:p>
          <a:p>
            <a:pPr marL="628650" lvl="1" indent="-171450">
              <a:spcBef>
                <a:spcPts val="520"/>
              </a:spcBef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628650" lvl="1" indent="-171450">
              <a:spcBef>
                <a:spcPts val="520"/>
              </a:spcBef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spcBef>
                <a:spcPts val="52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2030 vs.2024 market share drop is mainly due </a:t>
            </a:r>
            <a:r>
              <a:rPr lang="en-US" sz="900" b="1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to </a:t>
            </a:r>
            <a:r>
              <a:rPr lang="en-US" sz="900" b="1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b="1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9092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28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9323" name="think-cell Slide" r:id="rId32" imgW="470" imgH="469" progId="TCLayout.ActiveDocument.1">
                  <p:embed/>
                </p:oleObj>
              </mc:Choice>
              <mc:Fallback>
                <p:oleObj name="think-cell Slide" r:id="rId32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Skoda Brand 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NEV </a:t>
            </a:r>
            <a:r>
              <a:rPr lang="en-US" dirty="0" smtClean="0">
                <a:sym typeface="VWAG TheSans" panose="020B0502050302020203" pitchFamily="34" charset="0"/>
              </a:rPr>
              <a:t>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44" name="Chart 4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4157009"/>
              </p:ext>
            </p:extLst>
          </p:nvPr>
        </p:nvGraphicFramePr>
        <p:xfrm>
          <a:off x="1114425" y="2584450"/>
          <a:ext cx="8435975" cy="344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54" name="Rectangle 5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835525" y="48895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8D1441E-DAF8-4AD1-8836-7DC6EAC6AC49}" type="datetime'0''''''''''''''''''.''''''''''''''''''''''''''2''''%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2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4146550" y="52990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1DFA741-4AA7-46DB-9DB2-527EC0184B73}" type="datetime'''0''''''''''''.''''''''1''''''''''''''''''''%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524500" y="447992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65E3BE9-9EAB-477F-9F79-5BA602ACD672}" type="datetime'''''''''''0''''''''''''''.''''3''''''''''''''''''''%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3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395413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DC555D-75C8-4075-B3A7-F155604256C4}" type="datetime'''''''''''''''''''''''''''''''''''2''019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084388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972B52-CA4A-4771-8A8E-3170475E3563}" type="datetime'''2''''''''''''''''''''''''''''''0''''''''''2''0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2773363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7792743-77A7-486E-A8C5-94B87944C873}" type="datetime'2''''''0''''''''''''''''''''''2''''''1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4841875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923BA03-0CC9-44E0-A944-C394AB7620B7}" type="datetime'''''2''''''''''''''''''0''''''''2''''4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6213475" y="40703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0C03219-B2E2-43E6-BF88-3708D37B5889}" type="datetime'0''''''.''''4''''''''''%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4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4152900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C146DF-0F40-456D-BC80-3A28707C0258}" type="datetime'''''''''2''''''''''''''''0''''''''2''''''''''''''3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463925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6904E4-2E7D-42C3-96F3-22A0B69887BF}" type="datetime'''''''''''''''''''''''''''''''20''2''''''''2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530850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21C013D-A6F6-4E76-BBE0-9E3FAC926FFF}" type="datetime'2''''''''''''''''0''''''''25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219825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753E98-D0D7-4DDD-9DBB-B6956B0B7AC3}" type="datetime'''''''''''''''''''2''''''02''''''''''6''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902450" y="36607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EB99BEC-FF66-47E9-B737-C0279665669E}" type="datetime'''''''0''''''''''''''''''.''5''''''''''''''''''''%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5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6908800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DA44C2-1E8C-4C31-98EB-6F7A6F997253}" type="datetime'20''''''''''''''''''''''''''''2''''''''''''''''''''7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593013" y="32512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CC8C9D7-DEE4-45DF-BCFF-6FFDA3A6BCCE}" type="datetime'''''''''''0''''''''''''.6''''''''''''%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6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599363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CEEE84-0EED-46DF-9ECC-E2A2CA44AD1D}" type="datetime'2''''''''''''''''''''''''''0''2''''''''''''''''''8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8281988" y="284162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D448C7A-A195-45AE-9101-F0E96154A8C7}" type="datetime'0''''.''''''7''''''%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7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8288338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E9C2172-B609-48DC-8E92-EBD21802F01A}" type="datetime'2''''''''''''''''0''''''''''''''''''''''2''''''9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8970963" y="241617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8669410-92A8-48FE-A955-BA675518C9D1}" type="datetime'''0''.''''''''''''''''''''''''''8''''%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0.8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977313" y="598646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7E817D-8C93-4FBA-ACE4-7EF979B8B551}" type="datetime'''''''''''''''''2''''''0''''''3''''''0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25"/>
            </p:custDataLst>
          </p:nvPr>
        </p:nvCxnSpPr>
        <p:spPr bwMode="auto">
          <a:xfrm>
            <a:off x="612775" y="3043238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26"/>
            </p:custDataLst>
          </p:nvPr>
        </p:nvSpPr>
        <p:spPr bwMode="auto">
          <a:xfrm>
            <a:off x="642938" y="3163888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7" name="Oval 76"/>
          <p:cNvSpPr/>
          <p:nvPr>
            <p:custDataLst>
              <p:tags r:id="rId27"/>
            </p:custDataLst>
          </p:nvPr>
        </p:nvSpPr>
        <p:spPr bwMode="auto">
          <a:xfrm>
            <a:off x="658813" y="3017838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36613" y="2986088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50008EAD-9D5E-4F89-80AC-724515A3EDAC}" type="datetime'''''NE''''''''''''''''V'''''''''' ''MS''''%'''''''''''">
              <a:rPr lang="en-US" altLang="en-US" sz="8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NEV MS%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36613" y="3159125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NEV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4677764"/>
              </p:ext>
            </p:extLst>
          </p:nvPr>
        </p:nvGraphicFramePr>
        <p:xfrm>
          <a:off x="401445" y="5960062"/>
          <a:ext cx="9112675" cy="47905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504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541446" y="2525713"/>
            <a:ext cx="655984" cy="20637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239482" y="3281363"/>
            <a:ext cx="5036281" cy="98007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lvl="4"/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4239482" y="3281363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76958" y="1544054"/>
            <a:ext cx="9119467" cy="29268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indent="-228600">
              <a:spcBef>
                <a:spcPts val="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Only 1 NEV product planned in PR69 OP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96850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039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97" name="think-cell Slide" r:id="rId34" imgW="470" imgH="469" progId="TCLayout.ActiveDocument.1">
                  <p:embed/>
                </p:oleObj>
              </mc:Choice>
              <mc:Fallback>
                <p:oleObj name="think-cell Slide" r:id="rId34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Skoda Brand PR69.OP vs. PR69.SP </a:t>
            </a:r>
            <a:r>
              <a:rPr lang="en-US" dirty="0">
                <a:sym typeface="VWAG TheSans" panose="020B0502050302020203" pitchFamily="34" charset="0"/>
              </a:rPr>
              <a:t>- Acc. </a:t>
            </a:r>
            <a:r>
              <a:rPr lang="en-US" dirty="0" smtClean="0">
                <a:sym typeface="VWAG TheSans" panose="020B0502050302020203" pitchFamily="34" charset="0"/>
              </a:rPr>
              <a:t>Volumes (2020-2030)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cxnSp>
        <p:nvCxnSpPr>
          <p:cNvPr id="6" name="Straight Connector 5"/>
          <p:cNvCxnSpPr/>
          <p:nvPr>
            <p:custDataLst>
              <p:tags r:id="rId4"/>
            </p:custDataLst>
          </p:nvPr>
        </p:nvCxnSpPr>
        <p:spPr bwMode="auto">
          <a:xfrm>
            <a:off x="7426325" y="28463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auto">
          <a:xfrm>
            <a:off x="1536700" y="21351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6"/>
            </p:custDataLst>
          </p:nvPr>
        </p:nvCxnSpPr>
        <p:spPr bwMode="auto">
          <a:xfrm>
            <a:off x="3009900" y="24907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4481513" y="2562225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8"/>
            </p:custDataLst>
          </p:nvPr>
        </p:nvCxnSpPr>
        <p:spPr bwMode="auto">
          <a:xfrm>
            <a:off x="5953125" y="2703513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1" name="Chart 50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22290568"/>
              </p:ext>
            </p:extLst>
          </p:nvPr>
        </p:nvGraphicFramePr>
        <p:xfrm>
          <a:off x="309563" y="2052638"/>
          <a:ext cx="8997950" cy="291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 useBgFill="1">
        <p:nvSpPr>
          <p:cNvPr id="17" name="Freeform 16"/>
          <p:cNvSpPr/>
          <p:nvPr>
            <p:custDataLst>
              <p:tags r:id="rId10"/>
            </p:custDataLst>
          </p:nvPr>
        </p:nvSpPr>
        <p:spPr bwMode="auto">
          <a:xfrm>
            <a:off x="8039100" y="3716338"/>
            <a:ext cx="900114" cy="300038"/>
          </a:xfrm>
          <a:custGeom>
            <a:avLst/>
            <a:gdLst/>
            <a:ahLst/>
            <a:cxnLst/>
            <a:rect l="0" t="0" r="0" b="0"/>
            <a:pathLst>
              <a:path w="900114" h="300038">
                <a:moveTo>
                  <a:pt x="0" y="242887"/>
                </a:moveTo>
                <a:lnTo>
                  <a:pt x="900113" y="0"/>
                </a:lnTo>
                <a:lnTo>
                  <a:pt x="900113" y="57150"/>
                </a:lnTo>
                <a:lnTo>
                  <a:pt x="0" y="300037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4" name="Freeform 13"/>
          <p:cNvSpPr/>
          <p:nvPr>
            <p:custDataLst>
              <p:tags r:id="rId11"/>
            </p:custDataLst>
          </p:nvPr>
        </p:nvSpPr>
        <p:spPr bwMode="auto">
          <a:xfrm>
            <a:off x="677863" y="3716338"/>
            <a:ext cx="900113" cy="300038"/>
          </a:xfrm>
          <a:custGeom>
            <a:avLst/>
            <a:gdLst/>
            <a:ahLst/>
            <a:cxnLst/>
            <a:rect l="0" t="0" r="0" b="0"/>
            <a:pathLst>
              <a:path w="900113" h="300038">
                <a:moveTo>
                  <a:pt x="0" y="242887"/>
                </a:moveTo>
                <a:lnTo>
                  <a:pt x="900112" y="0"/>
                </a:lnTo>
                <a:lnTo>
                  <a:pt x="900112" y="57150"/>
                </a:lnTo>
                <a:lnTo>
                  <a:pt x="0" y="300037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2"/>
            </p:custDataLst>
          </p:nvPr>
        </p:nvSpPr>
        <p:spPr bwMode="auto">
          <a:xfrm>
            <a:off x="677863" y="3773488"/>
            <a:ext cx="900113" cy="242888"/>
          </a:xfrm>
          <a:custGeom>
            <a:avLst/>
            <a:gdLst/>
            <a:ahLst/>
            <a:cxnLst/>
            <a:rect l="0" t="0" r="0" b="0"/>
            <a:pathLst>
              <a:path w="900113" h="242888">
                <a:moveTo>
                  <a:pt x="0" y="242887"/>
                </a:moveTo>
                <a:lnTo>
                  <a:pt x="9001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Freeform 11"/>
          <p:cNvSpPr/>
          <p:nvPr>
            <p:custDataLst>
              <p:tags r:id="rId13"/>
            </p:custDataLst>
          </p:nvPr>
        </p:nvSpPr>
        <p:spPr bwMode="auto">
          <a:xfrm>
            <a:off x="677863" y="3716338"/>
            <a:ext cx="900113" cy="242888"/>
          </a:xfrm>
          <a:custGeom>
            <a:avLst/>
            <a:gdLst/>
            <a:ahLst/>
            <a:cxnLst/>
            <a:rect l="0" t="0" r="0" b="0"/>
            <a:pathLst>
              <a:path w="900113" h="242888">
                <a:moveTo>
                  <a:pt x="0" y="242887"/>
                </a:moveTo>
                <a:lnTo>
                  <a:pt x="9001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Freeform 14"/>
          <p:cNvSpPr/>
          <p:nvPr>
            <p:custDataLst>
              <p:tags r:id="rId14"/>
            </p:custDataLst>
          </p:nvPr>
        </p:nvSpPr>
        <p:spPr bwMode="auto">
          <a:xfrm>
            <a:off x="8039100" y="3716338"/>
            <a:ext cx="900114" cy="242888"/>
          </a:xfrm>
          <a:custGeom>
            <a:avLst/>
            <a:gdLst/>
            <a:ahLst/>
            <a:cxnLst/>
            <a:rect l="0" t="0" r="0" b="0"/>
            <a:pathLst>
              <a:path w="900114" h="242888">
                <a:moveTo>
                  <a:pt x="0" y="242887"/>
                </a:moveTo>
                <a:lnTo>
                  <a:pt x="90011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reeform 15"/>
          <p:cNvSpPr/>
          <p:nvPr>
            <p:custDataLst>
              <p:tags r:id="rId15"/>
            </p:custDataLst>
          </p:nvPr>
        </p:nvSpPr>
        <p:spPr bwMode="auto">
          <a:xfrm>
            <a:off x="8039100" y="3773488"/>
            <a:ext cx="900114" cy="242888"/>
          </a:xfrm>
          <a:custGeom>
            <a:avLst/>
            <a:gdLst/>
            <a:ahLst/>
            <a:cxnLst/>
            <a:rect l="0" t="0" r="0" b="0"/>
            <a:pathLst>
              <a:path w="900114" h="242888">
                <a:moveTo>
                  <a:pt x="0" y="242887"/>
                </a:moveTo>
                <a:lnTo>
                  <a:pt x="90011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6"/>
            </p:custDataLst>
          </p:nvPr>
        </p:nvCxnSpPr>
        <p:spPr bwMode="auto">
          <a:xfrm flipV="1">
            <a:off x="1127125" y="1811338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7"/>
            </p:custDataLst>
          </p:nvPr>
        </p:nvCxnSpPr>
        <p:spPr bwMode="auto">
          <a:xfrm>
            <a:off x="1127125" y="1811338"/>
            <a:ext cx="73612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8"/>
            </p:custDataLst>
          </p:nvPr>
        </p:nvCxnSpPr>
        <p:spPr bwMode="auto">
          <a:xfrm>
            <a:off x="8488363" y="1811338"/>
            <a:ext cx="0" cy="7874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Rectangle 29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6621463" y="4929187"/>
            <a:ext cx="7905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8353426" y="2636838"/>
            <a:ext cx="2698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822EAFA-0810-457F-A5AB-E74A63D4FBAA}" type="datetime'''''''''''''''''''''9''''00'''''''''''''''''">
              <a:rPr lang="en-US" altLang="en-US" sz="11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90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6716714" y="2606675"/>
            <a:ext cx="6016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BB962F9-036F-4C47-ACF9-9E85129825D9}" type="datetime'''-''''''2''''0''''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2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（</a:t>
            </a:r>
            <a:r>
              <a:rPr lang="en-US" altLang="zh-CN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-0.6%</a:t>
            </a:r>
            <a:r>
              <a:rPr lang="zh-CN" altLang="en-US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）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038724" y="4929187"/>
            <a:ext cx="10112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243514" y="2463800"/>
            <a:ext cx="6016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3749D98-1A66-4694-B1A5-E6DDC45331F0}" type="datetime'''''-2''''''''''''''''''''''''''''''''''''''0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2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（</a:t>
            </a:r>
            <a:r>
              <a:rPr lang="en-US" altLang="zh-CN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-0.3%</a:t>
            </a:r>
            <a:r>
              <a:rPr lang="zh-CN" altLang="en-US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）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23888" y="4929187"/>
            <a:ext cx="100806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2300289" y="2144713"/>
            <a:ext cx="6016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F899A77-6391-4D29-B1EA-2B04188009A9}" type="datetime'''''''-''''''''''''''50''''''''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5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（</a:t>
            </a:r>
            <a:r>
              <a:rPr lang="en-US" altLang="zh-CN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-1.3%</a:t>
            </a:r>
            <a:r>
              <a:rPr lang="zh-CN" altLang="en-US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）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2000249" y="4929188"/>
            <a:ext cx="12017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D8774A2-8A9B-492B-A890-017E7FCB4F8E}" type="datetime'''''''Ad''''dr.'''''''' Ma''rk''e''''t'''''''''' ''''Effect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ddr. Market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771901" y="2357438"/>
            <a:ext cx="6016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195A47A-5658-4C7E-B143-C88489C876E2}" type="datetime'''''''''''-''1''''''''''''''''''''0''''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1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（</a:t>
            </a:r>
            <a:r>
              <a:rPr lang="en-US" altLang="zh-CN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-7.1%</a:t>
            </a:r>
            <a:r>
              <a:rPr lang="zh-CN" altLang="en-US" sz="10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）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3636962" y="4929187"/>
            <a:ext cx="8715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204200" y="4929187"/>
            <a:ext cx="5683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936625" y="1925638"/>
            <a:ext cx="38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882F14F-B39D-44F4-A5A8-8CD972E359F0}" type="datetime'''''''''1'''',0''0''''''''''''''''''''''0'''''">
              <a:rPr lang="en-US" altLang="en-US" sz="11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418013" y="1525588"/>
            <a:ext cx="779463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CCF499E-A39C-4323-8C0F-EA7AB4A708F2}" type="datetime'''''''''''''-''''''''''''1''''''''''''00''''''''''''''''''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0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(</a:t>
            </a:r>
            <a:fld id="{564177F2-156F-4AE3-853E-A9043C9ECCCC}" type="datetime'''''-''''''''10''''.''''0''''''''%''''''''''''''''''''''''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0.0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6139162"/>
              </p:ext>
            </p:extLst>
          </p:nvPr>
        </p:nvGraphicFramePr>
        <p:xfrm>
          <a:off x="392118" y="5182251"/>
          <a:ext cx="8833104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err="1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ddr</a:t>
                      </a:r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. 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361530"/>
              </p:ext>
            </p:extLst>
          </p:nvPr>
        </p:nvGraphicFramePr>
        <p:xfrm>
          <a:off x="5007393" y="3105444"/>
          <a:ext cx="1232901" cy="392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5032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17869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209514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83325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LC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</a:tbl>
          </a:graphicData>
        </a:graphic>
      </p:graphicFrame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15485"/>
              </p:ext>
            </p:extLst>
          </p:nvPr>
        </p:nvGraphicFramePr>
        <p:xfrm>
          <a:off x="3485582" y="3105444"/>
          <a:ext cx="1224147" cy="10001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7907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426240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w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Proj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34046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 Main NB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04965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ancellation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885155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 Entry </a:t>
                      </a:r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B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625629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Lounge </a:t>
                      </a:r>
                      <a:r>
                        <a:rPr lang="en-US" sz="800" u="none" strike="noStrike" dirty="0" err="1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UV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18808"/>
                  </a:ext>
                </a:extLst>
              </a:tr>
            </a:tbl>
          </a:graphicData>
        </a:graphic>
      </p:graphicFrame>
      <p:graphicFrame>
        <p:nvGraphicFramePr>
          <p:cNvPr id="40" name="Table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3027044"/>
              </p:ext>
            </p:extLst>
          </p:nvPr>
        </p:nvGraphicFramePr>
        <p:xfrm>
          <a:off x="1979873" y="3105444"/>
          <a:ext cx="1214851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53214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34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Skoda Brand Volume PR69.OP vs. PR69.SP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264389"/>
              </p:ext>
            </p:extLst>
          </p:nvPr>
        </p:nvGraphicFramePr>
        <p:xfrm>
          <a:off x="159030" y="5849041"/>
          <a:ext cx="8817601" cy="493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37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60349">
                  <a:extLst>
                    <a:ext uri="{9D8B030D-6E8A-4147-A177-3AD203B41FA5}">
                      <a16:colId xmlns:a16="http://schemas.microsoft.com/office/drawing/2014/main" val="188650236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Delta (ppt) 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1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koda Brand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747329164"/>
              </p:ext>
            </p:extLst>
          </p:nvPr>
        </p:nvGraphicFramePr>
        <p:xfrm>
          <a:off x="1614275" y="2818701"/>
          <a:ext cx="7548976" cy="3162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28099" y="3183619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2113" y="1448432"/>
            <a:ext cx="9119467" cy="543858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indent="-228600">
              <a:spcBef>
                <a:spcPts val="52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spcBef>
                <a:spcPts val="52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indent="-228600">
              <a:spcBef>
                <a:spcPts val="52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</a:t>
            </a:r>
            <a:r>
              <a:rPr lang="en-US" sz="800" dirty="0" smtClean="0">
                <a:latin typeface="+mj-lt"/>
              </a:rPr>
              <a:t>XXXX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45058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428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78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宋体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>
                <a:ea typeface="宋体" pitchFamily="2" charset="-122"/>
              </a:rPr>
              <a:t>Tit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6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313687477"/>
              </p:ext>
            </p:extLst>
          </p:nvPr>
        </p:nvGraphicFramePr>
        <p:xfrm>
          <a:off x="384471" y="2339946"/>
          <a:ext cx="8759530" cy="3512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37451" y="2166144"/>
            <a:ext cx="554959" cy="338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Volume</a:t>
            </a:r>
          </a:p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(In Tsd.)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33434C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01638" y="5825473"/>
            <a:ext cx="958056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5873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Delta PR69 SP vs. OP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      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                                                                        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-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892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             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-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7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58               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-360            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-797                -851              -1,094                -                        -                      -                       -                       -              ∑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4,752 </a:t>
            </a:r>
            <a:endParaRPr kumimoji="0" lang="en-US" sz="80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01638" y="6002404"/>
            <a:ext cx="958056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5873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NEV%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PR69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OP                                                                                              5.5%               6.9%              10.0%           11.3%            14.5%             18.4%                                 </a:t>
            </a:r>
            <a:endParaRPr kumimoji="0" lang="en-US" sz="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01638" y="6157626"/>
            <a:ext cx="958056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5873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NEV%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PR69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SP                                                                                               8.9%              10.1%             11.6%           14.7%            18.0%             22.7%                                </a:t>
            </a:r>
            <a:endParaRPr kumimoji="0" lang="en-US" sz="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84246" y="1843378"/>
            <a:ext cx="542607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u="sng" dirty="0" smtClean="0">
                <a:solidFill>
                  <a:srgbClr val="000000"/>
                </a:solidFill>
                <a:latin typeface="VWAG TheSans" panose="020B0502050302020203" pitchFamily="34" charset="0"/>
              </a:rPr>
              <a:t>PR69 </a:t>
            </a:r>
            <a:r>
              <a:rPr lang="en-US" altLang="zh-CN" sz="1600" u="sng" dirty="0">
                <a:solidFill>
                  <a:srgbClr val="000000"/>
                </a:solidFill>
                <a:latin typeface="VWAG TheSans" panose="020B0502050302020203" pitchFamily="34" charset="0"/>
              </a:rPr>
              <a:t>OP</a:t>
            </a:r>
            <a:r>
              <a:rPr lang="en-US" sz="1600" u="sng" dirty="0">
                <a:solidFill>
                  <a:srgbClr val="000000"/>
                </a:solidFill>
                <a:latin typeface="VWAG TheSans" panose="020B0502050302020203" pitchFamily="34" charset="0"/>
              </a:rPr>
              <a:t> </a:t>
            </a:r>
            <a:r>
              <a:rPr lang="en-US" sz="1600" u="sng" dirty="0" smtClean="0">
                <a:solidFill>
                  <a:srgbClr val="000000"/>
                </a:solidFill>
                <a:latin typeface="VWAG TheSans" panose="020B0502050302020203" pitchFamily="34" charset="0"/>
              </a:rPr>
              <a:t>NEV Market Development</a:t>
            </a:r>
            <a:endParaRPr lang="en-US" sz="1600" u="sng" dirty="0">
              <a:solidFill>
                <a:srgbClr val="000000"/>
              </a:solidFill>
              <a:latin typeface="VWAG TheSans" panose="020B0502050302020203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8487741" y="3288531"/>
            <a:ext cx="1418259" cy="524091"/>
            <a:chOff x="8078172" y="2428875"/>
            <a:chExt cx="1418259" cy="524091"/>
          </a:xfrm>
        </p:grpSpPr>
        <p:sp>
          <p:nvSpPr>
            <p:cNvPr id="23" name="Rectangle 22"/>
            <p:cNvSpPr/>
            <p:nvPr/>
          </p:nvSpPr>
          <p:spPr>
            <a:xfrm>
              <a:off x="8078172" y="2575182"/>
              <a:ext cx="141825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VWAG TheSans" panose="020B0502050302020203" pitchFamily="34" charset="0"/>
                  <a:ea typeface="+mn-ea"/>
                  <a:cs typeface="+mn-cs"/>
                </a:rPr>
                <a:t>PR69 OP</a:t>
              </a:r>
              <a:endPara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8078172" y="2428875"/>
              <a:ext cx="837228" cy="2301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VWAG TheSans" panose="020B0502050302020203" pitchFamily="34" charset="0"/>
                  <a:ea typeface="+mn-ea"/>
                  <a:cs typeface="+mn-cs"/>
                </a:rPr>
                <a:t>PR69 </a:t>
              </a: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VWAG TheSans" panose="020B0502050302020203" pitchFamily="34" charset="0"/>
                  <a:ea typeface="+mn-ea"/>
                  <a:cs typeface="+mn-cs"/>
                </a:rPr>
                <a:t>S</a:t>
              </a:r>
              <a:r>
                <a:rPr kumimoji="0" lang="en-US" altLang="zh-CN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VWAG TheSans" panose="020B0502050302020203" pitchFamily="34" charset="0"/>
                  <a:ea typeface="+mn-ea"/>
                  <a:cs typeface="+mn-cs"/>
                </a:rPr>
                <a:t>P</a:t>
              </a:r>
              <a:endPara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8078172" y="2722134"/>
              <a:ext cx="141825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472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728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1706" name="think-cell Slide" r:id="rId34" imgW="470" imgH="469" progId="TCLayout.ActiveDocument.1">
                  <p:embed/>
                </p:oleObj>
              </mc:Choice>
              <mc:Fallback>
                <p:oleObj name="think-cell Slide" r:id="rId34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Skoda (CKD </a:t>
            </a:r>
            <a:r>
              <a:rPr lang="en-US" dirty="0">
                <a:sym typeface="VWAG TheSans" panose="020B0502050302020203" pitchFamily="34" charset="0"/>
              </a:rPr>
              <a:t>&amp; FBU) 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NEV</a:t>
            </a:r>
            <a:r>
              <a:rPr lang="en-US" dirty="0" smtClean="0">
                <a:sym typeface="VWAG TheSans" panose="020B0502050302020203" pitchFamily="34" charset="0"/>
              </a:rPr>
              <a:t> PR69.OP vs. PR69.SP </a:t>
            </a:r>
            <a:r>
              <a:rPr lang="en-US" dirty="0">
                <a:sym typeface="VWAG TheSans" panose="020B0502050302020203" pitchFamily="34" charset="0"/>
              </a:rPr>
              <a:t>- Acc. </a:t>
            </a:r>
            <a:r>
              <a:rPr lang="en-US" dirty="0" smtClean="0">
                <a:sym typeface="VWAG TheSans" panose="020B0502050302020203" pitchFamily="34" charset="0"/>
              </a:rPr>
              <a:t>Volumes (2020-2030)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cxnSp>
        <p:nvCxnSpPr>
          <p:cNvPr id="6" name="Straight Connector 5"/>
          <p:cNvCxnSpPr/>
          <p:nvPr>
            <p:custDataLst>
              <p:tags r:id="rId4"/>
            </p:custDataLst>
          </p:nvPr>
        </p:nvCxnSpPr>
        <p:spPr bwMode="auto">
          <a:xfrm>
            <a:off x="7623174" y="3228975"/>
            <a:ext cx="6810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5"/>
            </p:custDataLst>
          </p:nvPr>
        </p:nvCxnSpPr>
        <p:spPr bwMode="auto">
          <a:xfrm>
            <a:off x="4559299" y="3186113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6"/>
            </p:custDataLst>
          </p:nvPr>
        </p:nvCxnSpPr>
        <p:spPr bwMode="auto">
          <a:xfrm>
            <a:off x="1493837" y="23399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7"/>
            </p:custDataLst>
          </p:nvPr>
        </p:nvCxnSpPr>
        <p:spPr bwMode="auto">
          <a:xfrm>
            <a:off x="3025774" y="3186113"/>
            <a:ext cx="6810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8"/>
            </p:custDataLst>
          </p:nvPr>
        </p:nvCxnSpPr>
        <p:spPr bwMode="auto">
          <a:xfrm>
            <a:off x="6091237" y="3198813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Rectangle 40"/>
          <p:cNvSpPr/>
          <p:nvPr>
            <p:custDataLst>
              <p:tags r:id="rId9"/>
            </p:custDataLst>
          </p:nvPr>
        </p:nvSpPr>
        <p:spPr bwMode="auto">
          <a:xfrm>
            <a:off x="3706813" y="3182938"/>
            <a:ext cx="852487" cy="6350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3" name="Chart 52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48069078"/>
              </p:ext>
            </p:extLst>
          </p:nvPr>
        </p:nvGraphicFramePr>
        <p:xfrm>
          <a:off x="219075" y="2257425"/>
          <a:ext cx="9359900" cy="263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 useBgFill="1">
        <p:nvSpPr>
          <p:cNvPr id="13" name="Freeform 12"/>
          <p:cNvSpPr/>
          <p:nvPr>
            <p:custDataLst>
              <p:tags r:id="rId11"/>
            </p:custDataLst>
          </p:nvPr>
        </p:nvSpPr>
        <p:spPr bwMode="auto">
          <a:xfrm>
            <a:off x="595313" y="3863975"/>
            <a:ext cx="944563" cy="311151"/>
          </a:xfrm>
          <a:custGeom>
            <a:avLst/>
            <a:gdLst/>
            <a:ahLst/>
            <a:cxnLst/>
            <a:rect l="0" t="0" r="0" b="0"/>
            <a:pathLst>
              <a:path w="944563" h="311151">
                <a:moveTo>
                  <a:pt x="0" y="254000"/>
                </a:moveTo>
                <a:lnTo>
                  <a:pt x="944562" y="0"/>
                </a:lnTo>
                <a:lnTo>
                  <a:pt x="944562" y="57150"/>
                </a:lnTo>
                <a:lnTo>
                  <a:pt x="0" y="3111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35" name="Freeform 34"/>
          <p:cNvSpPr/>
          <p:nvPr>
            <p:custDataLst>
              <p:tags r:id="rId12"/>
            </p:custDataLst>
          </p:nvPr>
        </p:nvSpPr>
        <p:spPr bwMode="auto">
          <a:xfrm>
            <a:off x="8258175" y="3863975"/>
            <a:ext cx="944564" cy="311151"/>
          </a:xfrm>
          <a:custGeom>
            <a:avLst/>
            <a:gdLst/>
            <a:ahLst/>
            <a:cxnLst/>
            <a:rect l="0" t="0" r="0" b="0"/>
            <a:pathLst>
              <a:path w="944564" h="311151">
                <a:moveTo>
                  <a:pt x="0" y="254000"/>
                </a:moveTo>
                <a:lnTo>
                  <a:pt x="944563" y="0"/>
                </a:lnTo>
                <a:lnTo>
                  <a:pt x="944563" y="57150"/>
                </a:lnTo>
                <a:lnTo>
                  <a:pt x="0" y="3111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3"/>
            </p:custDataLst>
          </p:nvPr>
        </p:nvSpPr>
        <p:spPr bwMode="auto">
          <a:xfrm>
            <a:off x="8258175" y="3863975"/>
            <a:ext cx="944564" cy="254001"/>
          </a:xfrm>
          <a:custGeom>
            <a:avLst/>
            <a:gdLst/>
            <a:ahLst/>
            <a:cxnLst/>
            <a:rect l="0" t="0" r="0" b="0"/>
            <a:pathLst>
              <a:path w="944564" h="254001">
                <a:moveTo>
                  <a:pt x="0" y="254000"/>
                </a:moveTo>
                <a:lnTo>
                  <a:pt x="94456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4"/>
            </p:custDataLst>
          </p:nvPr>
        </p:nvSpPr>
        <p:spPr bwMode="auto">
          <a:xfrm>
            <a:off x="595313" y="3863975"/>
            <a:ext cx="944563" cy="254001"/>
          </a:xfrm>
          <a:custGeom>
            <a:avLst/>
            <a:gdLst/>
            <a:ahLst/>
            <a:cxnLst/>
            <a:rect l="0" t="0" r="0" b="0"/>
            <a:pathLst>
              <a:path w="944563" h="254001">
                <a:moveTo>
                  <a:pt x="0" y="254000"/>
                </a:moveTo>
                <a:lnTo>
                  <a:pt x="94456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Freeform 11"/>
          <p:cNvSpPr/>
          <p:nvPr>
            <p:custDataLst>
              <p:tags r:id="rId15"/>
            </p:custDataLst>
          </p:nvPr>
        </p:nvSpPr>
        <p:spPr bwMode="auto">
          <a:xfrm>
            <a:off x="595313" y="3921125"/>
            <a:ext cx="944563" cy="254001"/>
          </a:xfrm>
          <a:custGeom>
            <a:avLst/>
            <a:gdLst/>
            <a:ahLst/>
            <a:cxnLst/>
            <a:rect l="0" t="0" r="0" b="0"/>
            <a:pathLst>
              <a:path w="944563" h="254001">
                <a:moveTo>
                  <a:pt x="0" y="254000"/>
                </a:moveTo>
                <a:lnTo>
                  <a:pt x="94456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Freeform 14"/>
          <p:cNvSpPr/>
          <p:nvPr>
            <p:custDataLst>
              <p:tags r:id="rId16"/>
            </p:custDataLst>
          </p:nvPr>
        </p:nvSpPr>
        <p:spPr bwMode="auto">
          <a:xfrm>
            <a:off x="8258175" y="3921125"/>
            <a:ext cx="944564" cy="254001"/>
          </a:xfrm>
          <a:custGeom>
            <a:avLst/>
            <a:gdLst/>
            <a:ahLst/>
            <a:cxnLst/>
            <a:rect l="0" t="0" r="0" b="0"/>
            <a:pathLst>
              <a:path w="944564" h="254001">
                <a:moveTo>
                  <a:pt x="0" y="254000"/>
                </a:moveTo>
                <a:lnTo>
                  <a:pt x="94456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7"/>
            </p:custDataLst>
          </p:nvPr>
        </p:nvCxnSpPr>
        <p:spPr bwMode="auto">
          <a:xfrm flipV="1">
            <a:off x="1066800" y="1998663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8"/>
            </p:custDataLst>
          </p:nvPr>
        </p:nvCxnSpPr>
        <p:spPr bwMode="auto">
          <a:xfrm>
            <a:off x="1066800" y="1998663"/>
            <a:ext cx="766286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9"/>
            </p:custDataLst>
          </p:nvPr>
        </p:nvCxnSpPr>
        <p:spPr bwMode="auto">
          <a:xfrm>
            <a:off x="8729663" y="1998663"/>
            <a:ext cx="0" cy="965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Rectangle 2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22325" y="4852988"/>
            <a:ext cx="4889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EB43BD-DD59-4ECF-B903-58EE004B0156}" type="datetime''' P''''''''R''69.''SP&#10;''''''Of''''f''i''''ci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
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343150" y="2560638"/>
            <a:ext cx="5111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8FDE4E8-0D1D-4CCE-93AC-0E750CA83B84}" type="datetime'-''2''''''''''''''''''''''''''''''''''''00'''''''''''">
              <a:rPr lang="en-US" altLang="en-US" sz="12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200</a:t>
            </a:fld>
            <a:endParaRPr kumimoji="0" lang="en-US" altLang="en-US" sz="12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(-1.2%)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909763" y="4852988"/>
            <a:ext cx="13779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3286F0-EC06-4FC1-83E3-00D0EA9C4136}" type="datetime'P''rem. N''''''EV'''''''' M''ar''''ke''t'' ''Effec''t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em. NEV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8472488" y="4852988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FE80F46-0AAE-4528-88EA-76C036EC4D78}" type="datetime' P''R''''''''''6''''9''''''.''O''''''''''''''''''''''''P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940550" y="3011488"/>
            <a:ext cx="511175" cy="40322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E6D2A96-200F-4375-B7E9-AA9854D2ECF4}" type="datetime'''''''''''''''''''''''''''''''''''-''''''''''''''''''7'''''''">
              <a:rPr lang="en-US" altLang="en-US" sz="12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7</a:t>
            </a:fld>
            <a:endParaRPr lang="en-US" altLang="en-US" sz="1200" b="1" dirty="0" smtClean="0">
              <a:solidFill>
                <a:srgbClr val="FFFFFF"/>
              </a:solidFill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sz="1200" b="1" i="0" strike="noStrike" kern="1200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VWAG TheSans" panose="020B0502050302020203" pitchFamily="34" charset="0"/>
              </a:rPr>
              <a:t>(-4.3%)</a:t>
            </a: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3736975" y="4852988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5408613" y="2990850"/>
            <a:ext cx="511175" cy="40322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DEF6DC4-5082-4B36-AD4A-CE1F084E299A}" type="datetime'''''''''''''''''-''''''''''''''''''''''''''''3'''''''''">
              <a:rPr lang="en-US" altLang="en-US" sz="12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-3</a:t>
            </a:fld>
            <a:endParaRPr kumimoji="0" lang="en-US" altLang="en-US" sz="12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rgbClr val="FFFFFF"/>
                </a:solidFill>
                <a:sym typeface="VWAG TheSans" panose="020B0502050302020203" pitchFamily="34" charset="0"/>
              </a:rPr>
              <a:t>(-1.4%)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205413" y="4852988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837363" y="4852988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57250" y="2112963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926E703-17C1-4139-9AE2-056341857047}" type="datetime'''''''''''''''''''2'''''''''''',''''''''''0''''0''''''''''''0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520113" y="3001963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08B87B2-4ADF-4B2C-B335-F94FAD0D1043}" type="datetime'''''''''''1'''''''''',''''''''''''''''''''7''90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79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508500" y="1712913"/>
            <a:ext cx="779463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71C4940-33E1-4DB2-82D8-5C196D9A5365}" type="datetime'''''''''-2''''''''''''''''''''''''''''''1''''''''0''''''''''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21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(</a:t>
            </a:r>
            <a:fld id="{255699EF-B123-4E8C-B564-F5C4DD66AE91}" type="datetime'''''''''''''-1''''''''''''''''''0.''''5''%''''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0.5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00849" y="1525660"/>
            <a:ext cx="655984" cy="3016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8110989"/>
              </p:ext>
            </p:extLst>
          </p:nvPr>
        </p:nvGraphicFramePr>
        <p:xfrm>
          <a:off x="300849" y="5248598"/>
          <a:ext cx="9195571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191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3094053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em.</a:t>
                      </a:r>
                      <a:r>
                        <a:rPr lang="en-US" sz="900" b="1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</a:t>
                      </a:r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7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07595"/>
              </p:ext>
            </p:extLst>
          </p:nvPr>
        </p:nvGraphicFramePr>
        <p:xfrm>
          <a:off x="5055764" y="3298890"/>
          <a:ext cx="1232901" cy="7538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5032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17869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82802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51656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JV</a:t>
                      </a:r>
                      <a:r>
                        <a:rPr lang="en-US" sz="8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TBD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  <a:tr h="13269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6 Li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50675"/>
                  </a:ext>
                </a:extLst>
              </a:tr>
              <a:tr h="13269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6 Coupe e-</a:t>
                      </a:r>
                      <a:r>
                        <a:rPr lang="en-US" sz="700" u="none" strike="noStrike" dirty="0" err="1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r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4486100"/>
                  </a:ext>
                </a:extLst>
              </a:tr>
              <a:tr h="154015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Q6 e-</a:t>
                      </a:r>
                      <a:r>
                        <a:rPr lang="en-US" sz="700" u="none" strike="noStrike" dirty="0" err="1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r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6087273"/>
                  </a:ext>
                </a:extLst>
              </a:tr>
            </a:tbl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408798" y="6459619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3324907"/>
              </p:ext>
            </p:extLst>
          </p:nvPr>
        </p:nvGraphicFramePr>
        <p:xfrm>
          <a:off x="1866208" y="3298890"/>
          <a:ext cx="141674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74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407998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8814782"/>
              </p:ext>
            </p:extLst>
          </p:nvPr>
        </p:nvGraphicFramePr>
        <p:xfrm>
          <a:off x="6526213" y="3298890"/>
          <a:ext cx="1333500" cy="400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9694">
                  <a:extLst>
                    <a:ext uri="{9D8B030D-6E8A-4147-A177-3AD203B41FA5}">
                      <a16:colId xmlns:a16="http://schemas.microsoft.com/office/drawing/2014/main" val="4018743606"/>
                    </a:ext>
                  </a:extLst>
                </a:gridCol>
                <a:gridCol w="343806">
                  <a:extLst>
                    <a:ext uri="{9D8B030D-6E8A-4147-A177-3AD203B41FA5}">
                      <a16:colId xmlns:a16="http://schemas.microsoft.com/office/drawing/2014/main" val="616237163"/>
                    </a:ext>
                  </a:extLst>
                </a:gridCol>
              </a:tblGrid>
              <a:tr h="12197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r>
                        <a:rPr lang="en-US" altLang="zh-CN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412418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JV TB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059750"/>
                  </a:ext>
                </a:extLst>
              </a:tr>
              <a:tr h="12197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FBU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344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600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830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98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de-DE" sz="2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685137440"/>
              </p:ext>
            </p:extLst>
          </p:nvPr>
        </p:nvGraphicFramePr>
        <p:xfrm>
          <a:off x="1113183" y="2256638"/>
          <a:ext cx="7649155" cy="3363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366"/>
                </a:solidFill>
              </a:rPr>
              <a:t>Skoda Brand NEV Volume PR69.OP vs. PR69.S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069336"/>
              </p:ext>
            </p:extLst>
          </p:nvPr>
        </p:nvGraphicFramePr>
        <p:xfrm>
          <a:off x="444717" y="5485848"/>
          <a:ext cx="8234740" cy="43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55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3566">
                  <a:extLst>
                    <a:ext uri="{9D8B030D-6E8A-4147-A177-3AD203B41FA5}">
                      <a16:colId xmlns:a16="http://schemas.microsoft.com/office/drawing/2014/main" val="1089874721"/>
                    </a:ext>
                  </a:extLst>
                </a:gridCol>
              </a:tblGrid>
              <a:tr h="2390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Delta (ppt) </a:t>
                      </a: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oda Brand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0.1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0.1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0.1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0.1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0.1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0.1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0.1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02772" y="2418487"/>
            <a:ext cx="655984" cy="3023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76958" y="1544054"/>
            <a:ext cx="9119467" cy="29268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indent="-228600">
              <a:spcBef>
                <a:spcPts val="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677507" y="2786063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30981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85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5014" name="think-cell Slide" r:id="rId35" imgW="470" imgH="469" progId="TCLayout.ActiveDocument.1">
                  <p:embed/>
                </p:oleObj>
              </mc:Choice>
              <mc:Fallback>
                <p:oleObj name="think-cell Slide" r:id="rId35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VWAG TheSans" panose="020B0502050302020203" pitchFamily="34" charset="0"/>
              </a:rPr>
              <a:t>Skoda (CKD &amp; FBU) </a:t>
            </a:r>
            <a:r>
              <a:rPr lang="de-DE" dirty="0">
                <a:solidFill>
                  <a:srgbClr val="003366"/>
                </a:solidFill>
                <a:sym typeface="VWAG TheSans" panose="020B0502050302020203" pitchFamily="34" charset="0"/>
              </a:rPr>
              <a:t>NEV</a:t>
            </a:r>
            <a:r>
              <a:rPr lang="en-US" dirty="0">
                <a:sym typeface="VWAG TheSans" panose="020B0502050302020203" pitchFamily="34" charset="0"/>
              </a:rPr>
              <a:t> </a:t>
            </a:r>
            <a:r>
              <a:rPr lang="en-US" dirty="0" smtClean="0">
                <a:sym typeface="VWAG TheSans" panose="020B0502050302020203" pitchFamily="34" charset="0"/>
              </a:rPr>
              <a:t>PR69.OP Volume Planning 2020-203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62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41" name="Chart 40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6085156"/>
              </p:ext>
            </p:extLst>
          </p:nvPr>
        </p:nvGraphicFramePr>
        <p:xfrm>
          <a:off x="1133475" y="2419350"/>
          <a:ext cx="8453438" cy="2538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43" name="Rectangle 4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509963" y="43656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BB93FDD-AC0F-4DB5-AE73-ACCD3E5B75AE}" type="datetime'''''''''''''''''''''''''''''''''''''''''''''''5''''''''6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6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3479800" y="39751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1941973-398F-46DA-8277-FBA928AD7152}" type="datetime'''''''''''''7''''''.''''''0%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6208713" y="35956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0267F4B-0755-42A1-A860-9D07F65FDF89}" type="datetime'''''''1''1''''''''''''''''''''''''''''''''''.0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40811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0A2DB3-D343-439A-A485-FE5955399AC7}" type="datetime'''''''''''''4''''''.''''''''''''''0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098675" y="41497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B7F2B4-3959-4812-B54C-BD1B88463F42}" type="datetime'''''''''''''5''''''''.''''''''''''''''''0%'''''''">
              <a:rPr lang="en-US" altLang="en-US" sz="1000" b="1" smtClean="0"/>
              <a:pPr algn="ctr">
                <a:spcAft>
                  <a:spcPct val="0"/>
                </a:spcAft>
              </a:pPr>
              <a:t>5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789238" y="40703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05B143A-1849-44CB-BEDC-0C7551A8554D}" type="datetime'''''''''''''6''.''''''''''''''''''''0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8985250" y="35417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298935-B9DD-43F0-8807-0AB609B349B7}" type="datetime'''1'''',''9''''''''2''''''''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92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518150" y="36909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5B650FF-0598-407C-A609-9DF6196283F2}" type="datetime'1''0.''''''''0''''%''''''''''''''''''''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6223000" y="39624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5C35985-2253-41A7-A108-5E9A0A89C125}" type="datetime'''''''''''''''''''''1'''''',2''''''''''''40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24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4170363" y="38814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DB51835-A8EA-4907-B532-A202C424500F}" type="datetime'''''8''.''''''''''''''0''''''''''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2128838" y="455136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8F6D2E7-A868-46B8-9940-C13F0C346C84}" type="datetime'''''''''''''2''''''''2''''''''''''''''''''''0'''''''''''''''">
              <a:rPr lang="en-US" altLang="en-US" sz="1000" b="1" smtClean="0"/>
              <a:pPr algn="ctr">
                <a:spcAft>
                  <a:spcPct val="0"/>
                </a:spcAft>
              </a:pPr>
              <a:t>220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862513" y="37861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CA04816-C8A0-4044-A114-B9018B2ED52B}" type="datetime'''''''''''''''''''''''''''9''''''''''''''.0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899275" y="35004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EA70927-02C0-4FB6-872B-0BAD18905B51}" type="datetime'''''''''''''''''''''''1''2''''''.''''0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2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7589838" y="34067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6A38FE5-5AA9-41AB-8ED2-80F85F2CC6AB}" type="datetime'''''''1''3''''''''''.''''''''''''0''''''''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3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280400" y="33115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4B1578C-63DB-4FA2-A258-42649E7A1060}" type="datetime'''''''''''''''14''''''''''''''''''''''''''''''''''.''''0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8970963" y="320040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4A33F9A-300E-4BFF-BFDD-5FCDD07AC660}" type="datetime'''''''''''''''''''''''''1''''''5''''''''.0''%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532438" y="406241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61B049-BC28-4E0C-9CA1-2BD1933144D8}" type="datetime'''''''''''''''1'''''''',''''''''''''''''''''''''07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7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473200" y="4667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86D228-F8F3-43FB-AB9F-F001DD90D07F}" type="datetime'''''''''''''''''''''5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2819400" y="4465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7B44D16-FA6C-437D-9D91-4E595C44AC1F}" type="datetime'''39''''''''''''''''''''''''0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9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200525" y="42640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ACED5C6-1F84-4082-B9F5-1B1CEDABCBB7}" type="datetime'''''''''''''''''''73''''''''''''''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3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4891088" y="41640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CDDE87-2992-4940-87F9-0234D237554A}" type="datetime'''9''''''''''''''''''''''''''''''''''''0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913563" y="38608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CB225F3-AE7C-489B-AB97-CA287BBD5965}" type="datetime'''''''''1,''''4''''''''''1''''''''''0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41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604125" y="37592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8B2FB74-3EBE-46B9-ABF2-C0C810B8E286}" type="datetime'''''''''''''1'''''''''''''''''''',''5''''''8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58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294688" y="36433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4F2C968-2449-4052-9127-2AEFCFF8FDD3}" type="datetime'''''''''''''''''1'',''''''''''''''''750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7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29"/>
            </p:custDataLst>
          </p:nvPr>
        </p:nvCxnSpPr>
        <p:spPr bwMode="auto">
          <a:xfrm>
            <a:off x="620713" y="38100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30"/>
            </p:custDataLst>
          </p:nvPr>
        </p:nvSpPr>
        <p:spPr bwMode="auto">
          <a:xfrm>
            <a:off x="650875" y="3930650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7" name="Oval 76"/>
          <p:cNvSpPr/>
          <p:nvPr>
            <p:custDataLst>
              <p:tags r:id="rId31"/>
            </p:custDataLst>
          </p:nvPr>
        </p:nvSpPr>
        <p:spPr bwMode="auto">
          <a:xfrm>
            <a:off x="666750" y="37846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44550" y="3752850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826833CC-24F0-4E2A-86F8-F52BCDE66F3F}" type="datetime'N''''''E''''''''''''V'' ''''''''''''''''''''M''''''''''S%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44550" y="39258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695597"/>
              </p:ext>
            </p:extLst>
          </p:nvPr>
        </p:nvGraphicFramePr>
        <p:xfrm>
          <a:off x="401445" y="4986938"/>
          <a:ext cx="9112675" cy="135331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1031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+mj-lt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+mj-lt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  <a:r>
                        <a:rPr lang="en-US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H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latin typeface="+mj-lt"/>
                        </a:rPr>
                        <a:t>MQB/MLB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+mj-lt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PE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612775" y="3416327"/>
            <a:ext cx="584093" cy="2974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units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3925748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322603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778" name="think-cell Slide" r:id="rId184" imgW="270" imgH="270" progId="TCLayout.ActiveDocument.1">
                  <p:embed/>
                </p:oleObj>
              </mc:Choice>
              <mc:Fallback>
                <p:oleObj name="think-cell Slide" r:id="rId18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8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kumimoji="0" lang="en-US" altLang="zh-CN" sz="11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</a:t>
            </a:r>
            <a:endParaRPr lang="en-US" dirty="0"/>
          </a:p>
        </p:txBody>
      </p:sp>
      <p:cxnSp>
        <p:nvCxnSpPr>
          <p:cNvPr id="841" name="Straight Connector 840"/>
          <p:cNvCxnSpPr/>
          <p:nvPr>
            <p:custDataLst>
              <p:tags r:id="rId4"/>
            </p:custDataLst>
          </p:nvPr>
        </p:nvCxnSpPr>
        <p:spPr bwMode="auto">
          <a:xfrm flipV="1">
            <a:off x="2551114" y="2552700"/>
            <a:ext cx="214313" cy="174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" name="Straight Connector 1"/>
          <p:cNvCxnSpPr/>
          <p:nvPr>
            <p:custDataLst>
              <p:tags r:id="rId5"/>
            </p:custDataLst>
          </p:nvPr>
        </p:nvCxnSpPr>
        <p:spPr bwMode="auto">
          <a:xfrm flipV="1">
            <a:off x="3035301" y="2617788"/>
            <a:ext cx="214313" cy="6032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/>
          <p:cNvCxnSpPr/>
          <p:nvPr>
            <p:custDataLst>
              <p:tags r:id="rId6"/>
            </p:custDataLst>
          </p:nvPr>
        </p:nvCxnSpPr>
        <p:spPr bwMode="auto">
          <a:xfrm>
            <a:off x="835660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7"/>
            </p:custDataLst>
          </p:nvPr>
        </p:nvCxnSpPr>
        <p:spPr bwMode="auto">
          <a:xfrm>
            <a:off x="5938838" y="2644775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0" name="Straight Connector 689"/>
          <p:cNvCxnSpPr/>
          <p:nvPr>
            <p:custDataLst>
              <p:tags r:id="rId8"/>
            </p:custDataLst>
          </p:nvPr>
        </p:nvCxnSpPr>
        <p:spPr bwMode="auto">
          <a:xfrm>
            <a:off x="2551114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1" name="Straight Connector 680"/>
          <p:cNvCxnSpPr/>
          <p:nvPr>
            <p:custDataLst>
              <p:tags r:id="rId9"/>
            </p:custDataLst>
          </p:nvPr>
        </p:nvCxnSpPr>
        <p:spPr bwMode="auto">
          <a:xfrm>
            <a:off x="2068513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8" name="Straight Connector 907"/>
          <p:cNvCxnSpPr/>
          <p:nvPr>
            <p:custDataLst>
              <p:tags r:id="rId10"/>
            </p:custDataLst>
          </p:nvPr>
        </p:nvCxnSpPr>
        <p:spPr bwMode="auto">
          <a:xfrm flipV="1">
            <a:off x="7389813" y="3487738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11"/>
            </p:custDataLst>
          </p:nvPr>
        </p:nvCxnSpPr>
        <p:spPr bwMode="auto">
          <a:xfrm flipV="1">
            <a:off x="3519489" y="2611437"/>
            <a:ext cx="214313" cy="63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6" name="Straight Connector 765"/>
          <p:cNvCxnSpPr/>
          <p:nvPr>
            <p:custDataLst>
              <p:tags r:id="rId12"/>
            </p:custDataLst>
          </p:nvPr>
        </p:nvCxnSpPr>
        <p:spPr bwMode="auto">
          <a:xfrm>
            <a:off x="6421438" y="2647950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8" name="Straight Connector 847"/>
          <p:cNvCxnSpPr/>
          <p:nvPr>
            <p:custDataLst>
              <p:tags r:id="rId13"/>
            </p:custDataLst>
          </p:nvPr>
        </p:nvCxnSpPr>
        <p:spPr bwMode="auto">
          <a:xfrm flipV="1">
            <a:off x="3035301" y="2501899"/>
            <a:ext cx="214313" cy="508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14"/>
            </p:custDataLst>
          </p:nvPr>
        </p:nvCxnSpPr>
        <p:spPr bwMode="auto">
          <a:xfrm>
            <a:off x="8356601" y="2490788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8" name="Straight Connector 687"/>
          <p:cNvCxnSpPr/>
          <p:nvPr>
            <p:custDataLst>
              <p:tags r:id="rId15"/>
            </p:custDataLst>
          </p:nvPr>
        </p:nvCxnSpPr>
        <p:spPr bwMode="auto">
          <a:xfrm flipV="1">
            <a:off x="2068513" y="4860925"/>
            <a:ext cx="214313" cy="746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2" name="Straight Connector 781"/>
          <p:cNvCxnSpPr/>
          <p:nvPr>
            <p:custDataLst>
              <p:tags r:id="rId16"/>
            </p:custDataLst>
          </p:nvPr>
        </p:nvCxnSpPr>
        <p:spPr bwMode="auto">
          <a:xfrm flipV="1">
            <a:off x="7389813" y="2492375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2" name="Straight Connector 761"/>
          <p:cNvCxnSpPr/>
          <p:nvPr>
            <p:custDataLst>
              <p:tags r:id="rId17"/>
            </p:custDataLst>
          </p:nvPr>
        </p:nvCxnSpPr>
        <p:spPr bwMode="auto">
          <a:xfrm>
            <a:off x="6421439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6" name="Straight Connector 865"/>
          <p:cNvCxnSpPr/>
          <p:nvPr>
            <p:custDataLst>
              <p:tags r:id="rId18"/>
            </p:custDataLst>
          </p:nvPr>
        </p:nvCxnSpPr>
        <p:spPr bwMode="auto">
          <a:xfrm>
            <a:off x="4486275" y="2497138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19"/>
            </p:custDataLst>
          </p:nvPr>
        </p:nvCxnSpPr>
        <p:spPr bwMode="auto">
          <a:xfrm flipV="1">
            <a:off x="3519489" y="2497138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/>
          <p:cNvCxnSpPr/>
          <p:nvPr>
            <p:custDataLst>
              <p:tags r:id="rId20"/>
            </p:custDataLst>
          </p:nvPr>
        </p:nvCxnSpPr>
        <p:spPr bwMode="auto">
          <a:xfrm>
            <a:off x="8356601" y="3487738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21"/>
            </p:custDataLst>
          </p:nvPr>
        </p:nvCxnSpPr>
        <p:spPr bwMode="auto">
          <a:xfrm>
            <a:off x="2551114" y="3741738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>
            <p:custDataLst>
              <p:tags r:id="rId22"/>
            </p:custDataLst>
          </p:nvPr>
        </p:nvCxnSpPr>
        <p:spPr bwMode="auto">
          <a:xfrm>
            <a:off x="8356601" y="2657475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23"/>
            </p:custDataLst>
          </p:nvPr>
        </p:nvCxnSpPr>
        <p:spPr bwMode="auto">
          <a:xfrm>
            <a:off x="8356601" y="471170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2" name="Straight Connector 671"/>
          <p:cNvCxnSpPr/>
          <p:nvPr>
            <p:custDataLst>
              <p:tags r:id="rId24"/>
            </p:custDataLst>
          </p:nvPr>
        </p:nvCxnSpPr>
        <p:spPr bwMode="auto">
          <a:xfrm>
            <a:off x="1584326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3" name="Straight Connector 942"/>
          <p:cNvCxnSpPr/>
          <p:nvPr>
            <p:custDataLst>
              <p:tags r:id="rId25"/>
            </p:custDataLst>
          </p:nvPr>
        </p:nvCxnSpPr>
        <p:spPr bwMode="auto">
          <a:xfrm flipV="1">
            <a:off x="1584326" y="2570163"/>
            <a:ext cx="214313" cy="539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5" name="Straight Connector 684"/>
          <p:cNvCxnSpPr/>
          <p:nvPr>
            <p:custDataLst>
              <p:tags r:id="rId26"/>
            </p:custDataLst>
          </p:nvPr>
        </p:nvCxnSpPr>
        <p:spPr bwMode="auto">
          <a:xfrm flipV="1">
            <a:off x="1584326" y="2700339"/>
            <a:ext cx="214313" cy="555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0" name="Straight Connector 479"/>
          <p:cNvCxnSpPr/>
          <p:nvPr>
            <p:custDataLst>
              <p:tags r:id="rId27"/>
            </p:custDataLst>
          </p:nvPr>
        </p:nvCxnSpPr>
        <p:spPr bwMode="auto">
          <a:xfrm flipV="1">
            <a:off x="1584326" y="3879849"/>
            <a:ext cx="214313" cy="2286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9" name="Straight Connector 678"/>
          <p:cNvCxnSpPr/>
          <p:nvPr>
            <p:custDataLst>
              <p:tags r:id="rId28"/>
            </p:custDataLst>
          </p:nvPr>
        </p:nvCxnSpPr>
        <p:spPr bwMode="auto">
          <a:xfrm flipV="1">
            <a:off x="1584326" y="4935538"/>
            <a:ext cx="214313" cy="13652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5" name="Straight Connector 834"/>
          <p:cNvCxnSpPr/>
          <p:nvPr>
            <p:custDataLst>
              <p:tags r:id="rId29"/>
            </p:custDataLst>
          </p:nvPr>
        </p:nvCxnSpPr>
        <p:spPr bwMode="auto">
          <a:xfrm>
            <a:off x="2068513" y="2570163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30"/>
            </p:custDataLst>
          </p:nvPr>
        </p:nvCxnSpPr>
        <p:spPr bwMode="auto">
          <a:xfrm flipV="1">
            <a:off x="2068513" y="2695575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31"/>
            </p:custDataLst>
          </p:nvPr>
        </p:nvCxnSpPr>
        <p:spPr bwMode="auto">
          <a:xfrm flipV="1">
            <a:off x="2068513" y="3741738"/>
            <a:ext cx="214313" cy="1381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2" name="Straight Connector 801"/>
          <p:cNvCxnSpPr/>
          <p:nvPr>
            <p:custDataLst>
              <p:tags r:id="rId32"/>
            </p:custDataLst>
          </p:nvPr>
        </p:nvCxnSpPr>
        <p:spPr bwMode="auto">
          <a:xfrm flipV="1">
            <a:off x="2551114" y="2678113"/>
            <a:ext cx="214313" cy="174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7" name="Straight Connector 696"/>
          <p:cNvCxnSpPr/>
          <p:nvPr>
            <p:custDataLst>
              <p:tags r:id="rId33"/>
            </p:custDataLst>
          </p:nvPr>
        </p:nvCxnSpPr>
        <p:spPr bwMode="auto">
          <a:xfrm>
            <a:off x="2551114" y="4860926"/>
            <a:ext cx="214313" cy="111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>
            <p:custDataLst>
              <p:tags r:id="rId34"/>
            </p:custDataLst>
          </p:nvPr>
        </p:nvCxnSpPr>
        <p:spPr bwMode="auto">
          <a:xfrm flipV="1">
            <a:off x="4486275" y="3560763"/>
            <a:ext cx="214313" cy="254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8" name="Straight Connector 707"/>
          <p:cNvCxnSpPr/>
          <p:nvPr>
            <p:custDataLst>
              <p:tags r:id="rId35"/>
            </p:custDataLst>
          </p:nvPr>
        </p:nvCxnSpPr>
        <p:spPr bwMode="auto">
          <a:xfrm>
            <a:off x="3519489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9" name="Straight Connector 698"/>
          <p:cNvCxnSpPr/>
          <p:nvPr>
            <p:custDataLst>
              <p:tags r:id="rId36"/>
            </p:custDataLst>
          </p:nvPr>
        </p:nvCxnSpPr>
        <p:spPr bwMode="auto">
          <a:xfrm>
            <a:off x="303530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/>
          <p:cNvCxnSpPr/>
          <p:nvPr>
            <p:custDataLst>
              <p:tags r:id="rId37"/>
            </p:custDataLst>
          </p:nvPr>
        </p:nvCxnSpPr>
        <p:spPr bwMode="auto">
          <a:xfrm flipV="1">
            <a:off x="3035301" y="3709987"/>
            <a:ext cx="214313" cy="444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6" name="Straight Connector 705"/>
          <p:cNvCxnSpPr/>
          <p:nvPr>
            <p:custDataLst>
              <p:tags r:id="rId38"/>
            </p:custDataLst>
          </p:nvPr>
        </p:nvCxnSpPr>
        <p:spPr bwMode="auto">
          <a:xfrm flipV="1">
            <a:off x="3035301" y="4854575"/>
            <a:ext cx="214313" cy="174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4" name="Straight Connector 713"/>
          <p:cNvCxnSpPr/>
          <p:nvPr>
            <p:custDataLst>
              <p:tags r:id="rId39"/>
            </p:custDataLst>
          </p:nvPr>
        </p:nvCxnSpPr>
        <p:spPr bwMode="auto">
          <a:xfrm flipV="1">
            <a:off x="3519489" y="3662363"/>
            <a:ext cx="214313" cy="4762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5" name="Straight Connector 714"/>
          <p:cNvCxnSpPr/>
          <p:nvPr>
            <p:custDataLst>
              <p:tags r:id="rId40"/>
            </p:custDataLst>
          </p:nvPr>
        </p:nvCxnSpPr>
        <p:spPr bwMode="auto">
          <a:xfrm flipV="1">
            <a:off x="3519489" y="4841875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0" name="Straight Connector 729"/>
          <p:cNvCxnSpPr/>
          <p:nvPr>
            <p:custDataLst>
              <p:tags r:id="rId41"/>
            </p:custDataLst>
          </p:nvPr>
        </p:nvCxnSpPr>
        <p:spPr bwMode="auto">
          <a:xfrm>
            <a:off x="4486275" y="2613025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7" name="Straight Connector 716"/>
          <p:cNvCxnSpPr/>
          <p:nvPr>
            <p:custDataLst>
              <p:tags r:id="rId42"/>
            </p:custDataLst>
          </p:nvPr>
        </p:nvCxnSpPr>
        <p:spPr bwMode="auto">
          <a:xfrm>
            <a:off x="4003676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Connector 16"/>
          <p:cNvCxnSpPr/>
          <p:nvPr>
            <p:custDataLst>
              <p:tags r:id="rId43"/>
            </p:custDataLst>
          </p:nvPr>
        </p:nvCxnSpPr>
        <p:spPr bwMode="auto">
          <a:xfrm>
            <a:off x="4003676" y="2497138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1" name="Straight Connector 720"/>
          <p:cNvCxnSpPr/>
          <p:nvPr>
            <p:custDataLst>
              <p:tags r:id="rId44"/>
            </p:custDataLst>
          </p:nvPr>
        </p:nvCxnSpPr>
        <p:spPr bwMode="auto">
          <a:xfrm>
            <a:off x="4003676" y="2611438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45"/>
            </p:custDataLst>
          </p:nvPr>
        </p:nvCxnSpPr>
        <p:spPr bwMode="auto">
          <a:xfrm flipV="1">
            <a:off x="4003676" y="3586163"/>
            <a:ext cx="214313" cy="762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4" name="Straight Connector 723"/>
          <p:cNvCxnSpPr/>
          <p:nvPr>
            <p:custDataLst>
              <p:tags r:id="rId46"/>
            </p:custDataLst>
          </p:nvPr>
        </p:nvCxnSpPr>
        <p:spPr bwMode="auto">
          <a:xfrm flipV="1">
            <a:off x="4003676" y="4791075"/>
            <a:ext cx="214313" cy="508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6" name="Straight Connector 725"/>
          <p:cNvCxnSpPr/>
          <p:nvPr>
            <p:custDataLst>
              <p:tags r:id="rId47"/>
            </p:custDataLst>
          </p:nvPr>
        </p:nvCxnSpPr>
        <p:spPr bwMode="auto">
          <a:xfrm>
            <a:off x="4486275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3" name="Straight Connector 732"/>
          <p:cNvCxnSpPr/>
          <p:nvPr>
            <p:custDataLst>
              <p:tags r:id="rId48"/>
            </p:custDataLst>
          </p:nvPr>
        </p:nvCxnSpPr>
        <p:spPr bwMode="auto">
          <a:xfrm flipV="1">
            <a:off x="4486275" y="4772025"/>
            <a:ext cx="214313" cy="190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5" name="Straight Connector 734"/>
          <p:cNvCxnSpPr/>
          <p:nvPr>
            <p:custDataLst>
              <p:tags r:id="rId49"/>
            </p:custDataLst>
          </p:nvPr>
        </p:nvCxnSpPr>
        <p:spPr bwMode="auto">
          <a:xfrm>
            <a:off x="4970464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5" name="Straight Connector 874"/>
          <p:cNvCxnSpPr/>
          <p:nvPr>
            <p:custDataLst>
              <p:tags r:id="rId50"/>
            </p:custDataLst>
          </p:nvPr>
        </p:nvCxnSpPr>
        <p:spPr bwMode="auto">
          <a:xfrm>
            <a:off x="4970463" y="2498725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9" name="Straight Connector 738"/>
          <p:cNvCxnSpPr/>
          <p:nvPr>
            <p:custDataLst>
              <p:tags r:id="rId51"/>
            </p:custDataLst>
          </p:nvPr>
        </p:nvCxnSpPr>
        <p:spPr bwMode="auto">
          <a:xfrm>
            <a:off x="4970463" y="2627313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Straight Connector 3"/>
          <p:cNvCxnSpPr/>
          <p:nvPr>
            <p:custDataLst>
              <p:tags r:id="rId52"/>
            </p:custDataLst>
          </p:nvPr>
        </p:nvCxnSpPr>
        <p:spPr bwMode="auto">
          <a:xfrm flipV="1">
            <a:off x="4970464" y="3535363"/>
            <a:ext cx="214313" cy="254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2" name="Straight Connector 741"/>
          <p:cNvCxnSpPr/>
          <p:nvPr>
            <p:custDataLst>
              <p:tags r:id="rId53"/>
            </p:custDataLst>
          </p:nvPr>
        </p:nvCxnSpPr>
        <p:spPr bwMode="auto">
          <a:xfrm flipV="1">
            <a:off x="4970464" y="4756150"/>
            <a:ext cx="214313" cy="158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4" name="Straight Connector 743"/>
          <p:cNvCxnSpPr/>
          <p:nvPr>
            <p:custDataLst>
              <p:tags r:id="rId54"/>
            </p:custDataLst>
          </p:nvPr>
        </p:nvCxnSpPr>
        <p:spPr bwMode="auto">
          <a:xfrm>
            <a:off x="545465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4" name="Straight Connector 893"/>
          <p:cNvCxnSpPr/>
          <p:nvPr>
            <p:custDataLst>
              <p:tags r:id="rId55"/>
            </p:custDataLst>
          </p:nvPr>
        </p:nvCxnSpPr>
        <p:spPr bwMode="auto">
          <a:xfrm flipV="1">
            <a:off x="6421439" y="3494088"/>
            <a:ext cx="214313" cy="79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6" name="Straight Connector 745"/>
          <p:cNvCxnSpPr/>
          <p:nvPr>
            <p:custDataLst>
              <p:tags r:id="rId56"/>
            </p:custDataLst>
          </p:nvPr>
        </p:nvCxnSpPr>
        <p:spPr bwMode="auto">
          <a:xfrm flipV="1">
            <a:off x="5454650" y="250031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57"/>
            </p:custDataLst>
          </p:nvPr>
        </p:nvCxnSpPr>
        <p:spPr bwMode="auto">
          <a:xfrm flipV="1">
            <a:off x="5938838" y="2497138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58"/>
            </p:custDataLst>
          </p:nvPr>
        </p:nvCxnSpPr>
        <p:spPr bwMode="auto">
          <a:xfrm>
            <a:off x="5454650" y="2641600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59"/>
            </p:custDataLst>
          </p:nvPr>
        </p:nvCxnSpPr>
        <p:spPr bwMode="auto">
          <a:xfrm flipV="1">
            <a:off x="5454651" y="3521075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1" name="Straight Connector 750"/>
          <p:cNvCxnSpPr/>
          <p:nvPr>
            <p:custDataLst>
              <p:tags r:id="rId60"/>
            </p:custDataLst>
          </p:nvPr>
        </p:nvCxnSpPr>
        <p:spPr bwMode="auto">
          <a:xfrm flipV="1">
            <a:off x="5454651" y="4745038"/>
            <a:ext cx="214313" cy="111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3" name="Straight Connector 752"/>
          <p:cNvCxnSpPr/>
          <p:nvPr>
            <p:custDataLst>
              <p:tags r:id="rId61"/>
            </p:custDataLst>
          </p:nvPr>
        </p:nvCxnSpPr>
        <p:spPr bwMode="auto">
          <a:xfrm>
            <a:off x="5938839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7" name="Straight Connector 886"/>
          <p:cNvCxnSpPr/>
          <p:nvPr>
            <p:custDataLst>
              <p:tags r:id="rId62"/>
            </p:custDataLst>
          </p:nvPr>
        </p:nvCxnSpPr>
        <p:spPr bwMode="auto">
          <a:xfrm flipV="1">
            <a:off x="5938839" y="3502025"/>
            <a:ext cx="214313" cy="190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0" name="Straight Connector 759"/>
          <p:cNvCxnSpPr/>
          <p:nvPr>
            <p:custDataLst>
              <p:tags r:id="rId63"/>
            </p:custDataLst>
          </p:nvPr>
        </p:nvCxnSpPr>
        <p:spPr bwMode="auto">
          <a:xfrm flipV="1">
            <a:off x="5938839" y="4730750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8" name="Straight Connector 777"/>
          <p:cNvCxnSpPr/>
          <p:nvPr>
            <p:custDataLst>
              <p:tags r:id="rId64"/>
            </p:custDataLst>
          </p:nvPr>
        </p:nvCxnSpPr>
        <p:spPr bwMode="auto">
          <a:xfrm flipV="1">
            <a:off x="6905626" y="4716462"/>
            <a:ext cx="214313" cy="63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2" name="Straight Connector 941"/>
          <p:cNvCxnSpPr/>
          <p:nvPr>
            <p:custDataLst>
              <p:tags r:id="rId65"/>
            </p:custDataLst>
          </p:nvPr>
        </p:nvCxnSpPr>
        <p:spPr bwMode="auto">
          <a:xfrm flipV="1">
            <a:off x="6421438" y="249555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66"/>
            </p:custDataLst>
          </p:nvPr>
        </p:nvCxnSpPr>
        <p:spPr bwMode="auto">
          <a:xfrm flipV="1">
            <a:off x="6421439" y="4722813"/>
            <a:ext cx="214313" cy="79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1" name="Straight Connector 770"/>
          <p:cNvCxnSpPr/>
          <p:nvPr>
            <p:custDataLst>
              <p:tags r:id="rId67"/>
            </p:custDataLst>
          </p:nvPr>
        </p:nvCxnSpPr>
        <p:spPr bwMode="auto">
          <a:xfrm>
            <a:off x="6905626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7" name="Straight Connector 936"/>
          <p:cNvCxnSpPr/>
          <p:nvPr>
            <p:custDataLst>
              <p:tags r:id="rId68"/>
            </p:custDataLst>
          </p:nvPr>
        </p:nvCxnSpPr>
        <p:spPr bwMode="auto">
          <a:xfrm flipV="1">
            <a:off x="6905625" y="249396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5" name="Straight Connector 774"/>
          <p:cNvCxnSpPr/>
          <p:nvPr>
            <p:custDataLst>
              <p:tags r:id="rId69"/>
            </p:custDataLst>
          </p:nvPr>
        </p:nvCxnSpPr>
        <p:spPr bwMode="auto">
          <a:xfrm>
            <a:off x="6905625" y="2651125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1" name="Straight Connector 900"/>
          <p:cNvCxnSpPr/>
          <p:nvPr>
            <p:custDataLst>
              <p:tags r:id="rId70"/>
            </p:custDataLst>
          </p:nvPr>
        </p:nvCxnSpPr>
        <p:spPr bwMode="auto">
          <a:xfrm flipV="1">
            <a:off x="6905626" y="3489326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0" name="Straight Connector 779"/>
          <p:cNvCxnSpPr/>
          <p:nvPr>
            <p:custDataLst>
              <p:tags r:id="rId71"/>
            </p:custDataLst>
          </p:nvPr>
        </p:nvCxnSpPr>
        <p:spPr bwMode="auto">
          <a:xfrm>
            <a:off x="7389813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4" name="Straight Connector 783"/>
          <p:cNvCxnSpPr/>
          <p:nvPr>
            <p:custDataLst>
              <p:tags r:id="rId72"/>
            </p:custDataLst>
          </p:nvPr>
        </p:nvCxnSpPr>
        <p:spPr bwMode="auto">
          <a:xfrm>
            <a:off x="7389813" y="2652713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7" name="Straight Connector 786"/>
          <p:cNvCxnSpPr/>
          <p:nvPr>
            <p:custDataLst>
              <p:tags r:id="rId73"/>
            </p:custDataLst>
          </p:nvPr>
        </p:nvCxnSpPr>
        <p:spPr bwMode="auto">
          <a:xfrm flipV="1">
            <a:off x="7389813" y="4713288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9" name="Straight Connector 788"/>
          <p:cNvCxnSpPr/>
          <p:nvPr>
            <p:custDataLst>
              <p:tags r:id="rId74"/>
            </p:custDataLst>
          </p:nvPr>
        </p:nvCxnSpPr>
        <p:spPr bwMode="auto">
          <a:xfrm>
            <a:off x="787400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Connector 10"/>
          <p:cNvCxnSpPr/>
          <p:nvPr>
            <p:custDataLst>
              <p:tags r:id="rId75"/>
            </p:custDataLst>
          </p:nvPr>
        </p:nvCxnSpPr>
        <p:spPr bwMode="auto">
          <a:xfrm flipV="1">
            <a:off x="7874000" y="2490788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3" name="Straight Connector 792"/>
          <p:cNvCxnSpPr/>
          <p:nvPr>
            <p:custDataLst>
              <p:tags r:id="rId76"/>
            </p:custDataLst>
          </p:nvPr>
        </p:nvCxnSpPr>
        <p:spPr bwMode="auto">
          <a:xfrm>
            <a:off x="7874001" y="2655888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4" name="Straight Connector 913"/>
          <p:cNvCxnSpPr/>
          <p:nvPr>
            <p:custDataLst>
              <p:tags r:id="rId77"/>
            </p:custDataLst>
          </p:nvPr>
        </p:nvCxnSpPr>
        <p:spPr bwMode="auto">
          <a:xfrm>
            <a:off x="7874001" y="3487738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78"/>
            </p:custDataLst>
          </p:nvPr>
        </p:nvCxnSpPr>
        <p:spPr bwMode="auto">
          <a:xfrm flipV="1">
            <a:off x="7874001" y="471170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96" name="Chart 195"/>
          <p:cNvGraphicFramePr/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3082419392"/>
              </p:ext>
            </p:extLst>
          </p:nvPr>
        </p:nvGraphicFramePr>
        <p:xfrm>
          <a:off x="1125538" y="2176463"/>
          <a:ext cx="8059737" cy="371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6"/>
          </a:graphicData>
        </a:graphic>
      </p:graphicFrame>
      <p:cxnSp>
        <p:nvCxnSpPr>
          <p:cNvPr id="9" name="Straight Connector 8"/>
          <p:cNvCxnSpPr/>
          <p:nvPr>
            <p:custDataLst>
              <p:tags r:id="rId80"/>
            </p:custDataLst>
          </p:nvPr>
        </p:nvCxnSpPr>
        <p:spPr bwMode="auto">
          <a:xfrm>
            <a:off x="1449388" y="2355850"/>
            <a:ext cx="0" cy="33337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81"/>
            </p:custDataLst>
          </p:nvPr>
        </p:nvCxnSpPr>
        <p:spPr bwMode="auto">
          <a:xfrm flipH="1">
            <a:off x="8805863" y="2576513"/>
            <a:ext cx="5238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4" name="Straight Connector 253"/>
          <p:cNvCxnSpPr/>
          <p:nvPr>
            <p:custDataLst>
              <p:tags r:id="rId82"/>
            </p:custDataLst>
          </p:nvPr>
        </p:nvCxnSpPr>
        <p:spPr bwMode="auto">
          <a:xfrm>
            <a:off x="1060450" y="2381250"/>
            <a:ext cx="2032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7" name="Rectangle 656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7070725" y="298608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8D7A139-8837-4679-A326-67AAAF94984F}" type="datetime'''''''''''2''''''4''''.''''''''4''''''''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4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9" name="Rectangle 888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gray">
          <a:xfrm>
            <a:off x="7051675" y="401002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CBBDB42-B1BB-4EBB-A872-0732E62D7FF6}" type="datetime'''3''''''''''5''''''''''''''''''''.''''9''%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9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2" name="Rectangle 261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auto">
          <a:xfrm>
            <a:off x="7059613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7ED908E-41E8-4ECA-905B-C09765584150}" type="datetime'''''''''''''2''''0''''27''E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7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2" name="Rectangle 191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gray">
          <a:xfrm>
            <a:off x="7589838" y="2489200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A17D5B7-37E3-4B1C-8B10-476E090F63BE}" type="datetime'''''''''''''''''''''''''''''''4''''.8''''''''''''''''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8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9" name="Rectangle 658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gray">
          <a:xfrm>
            <a:off x="7554913" y="298767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19347C6-CCFB-4976-B6AA-5705267F8756}" type="datetime'''''''2''''''''4''''''.''''''''''''''''''''''''''''3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3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91" name="Rectangle 890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gray">
          <a:xfrm>
            <a:off x="7535863" y="400843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AB95413-FF50-4686-9D0C-21E291D5A9DE}" type="datetime'''3''''''''5''''''''.8''''''''''''''''''''''''%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8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90" name="Rectangle 889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gray">
          <a:xfrm>
            <a:off x="7535863" y="5167313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59970D2-8589-4EE4-9492-C0CE2768511E}" type="datetime'''''31''''''.''''''''9''''''''''''''''''''''''''%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9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6" name="Rectangle 255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auto">
          <a:xfrm>
            <a:off x="7543800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6A4C7D3-FF70-4DFE-91E0-EE661F710EB8}" type="datetime'''''''''''''''''''2''''0''2''''''''''''''''''''8''E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8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3" name="Rectangle 192"/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gray">
          <a:xfrm>
            <a:off x="8072438" y="2489200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09448F8-F7BD-4EC5-BE60-C4C1EB295CD1}" type="datetime'''4''''''''''''''''''''''.''''''9''''''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9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61" name="Rectangle 660"/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gray">
          <a:xfrm>
            <a:off x="8037513" y="298767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51C8669-6A26-455A-96C5-5A1479A9970F}" type="datetime'''''''''''''''''''''2''''''''''''4.2''''''''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2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6" name="Rectangle 875"/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gray">
          <a:xfrm>
            <a:off x="4148138" y="40957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4D16CBC-4A3D-4105-962F-4BB6A3B264D7}" type="datetime'3''''5''''''''''''''''''''''.''''''''''''''''''2''%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2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92" name="Rectangle 891"/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gray">
          <a:xfrm>
            <a:off x="8018463" y="51657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EF507FF-90D9-4E23-A66F-3B36CAB0E4FC}" type="datetime'''''''''''''''''''''3''''''''1.''''''''''''9''%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9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2" name="Rectangle 281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8026400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AF1DA6-1CE2-4C8A-A9F6-B829719389B5}" type="datetime'''''''''''''2''''''''0''2''''9''''''E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9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5" name="Rectangle 264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3225800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9A04D99-2CDE-441D-8FA9-793B02B0999C}" type="datetime'''''''2''''''''''''0''''''''''19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9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5" name="Rectangle 894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gray">
          <a:xfrm>
            <a:off x="8521700" y="29892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6C20177-AB2C-421F-8CE0-9ED2810850A3}" type="datetime'''''2''''4.''''''''''''''2''''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2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97" name="Rectangle 396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auto">
          <a:xfrm>
            <a:off x="915988" y="3340100"/>
            <a:ext cx="2873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C87CF7D5-8FCC-49BA-AC12-E0F74EE1D5A0}" type="datetime'''''''M''''''P''''''''''''''''''''''''''''''''''''''''V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MPV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0" name="Rectangle 149"/>
          <p:cNvSpPr>
            <a:spLocks noGrp="1" noChangeArrowheads="1"/>
          </p:cNvSpPr>
          <p:nvPr>
            <p:custDataLst>
              <p:tags r:id="rId99"/>
            </p:custDataLst>
          </p:nvPr>
        </p:nvSpPr>
        <p:spPr bwMode="auto">
          <a:xfrm>
            <a:off x="8510588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9530D5D-B316-4BB6-8602-DA0FF04484FA}" type="datetime'''''''''''''''''''2''''''''''''''0''''''3''''''0''''E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30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4" name="Rectangle 303"/>
          <p:cNvSpPr>
            <a:spLocks noGrp="1" noChangeArrowheads="1"/>
          </p:cNvSpPr>
          <p:nvPr>
            <p:custDataLst>
              <p:tags r:id="rId100"/>
            </p:custDataLst>
          </p:nvPr>
        </p:nvSpPr>
        <p:spPr bwMode="auto">
          <a:xfrm>
            <a:off x="1027113" y="2597150"/>
            <a:ext cx="1762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5F3849FE-73D3-4B9F-886A-58477DDED05C}" type="datetime'''''''H''''''''''''''''''''''''''''''''''''''B''''''''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HB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5" name="Rectangle 254"/>
          <p:cNvSpPr>
            <a:spLocks noGrp="1" noChangeArrowheads="1"/>
          </p:cNvSpPr>
          <p:nvPr>
            <p:custDataLst>
              <p:tags r:id="rId101"/>
            </p:custDataLst>
          </p:nvPr>
        </p:nvSpPr>
        <p:spPr bwMode="auto">
          <a:xfrm>
            <a:off x="1028700" y="4497388"/>
            <a:ext cx="1746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BF4EF34D-7898-4727-B46C-4710E130F74E}" type="datetime'''''''''''''''''''N''''''''''''''''B''''''''''''''''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NB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0" name="Rectangle 299"/>
          <p:cNvSpPr>
            <a:spLocks noGrp="1" noChangeArrowheads="1"/>
          </p:cNvSpPr>
          <p:nvPr>
            <p:custDataLst>
              <p:tags r:id="rId102"/>
            </p:custDataLst>
          </p:nvPr>
        </p:nvSpPr>
        <p:spPr bwMode="auto">
          <a:xfrm>
            <a:off x="950913" y="5346700"/>
            <a:ext cx="2524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4FDD057C-6663-494D-AFDC-16DFFB6E5307}" type="datetime'''S''''''''''''''''''U''''''''''''''''''''''''''''''V''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SUV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1" name="Rectangle 650"/>
          <p:cNvSpPr>
            <a:spLocks noGrp="1" noChangeArrowheads="1"/>
          </p:cNvSpPr>
          <p:nvPr>
            <p:custDataLst>
              <p:tags r:id="rId103"/>
            </p:custDataLst>
          </p:nvPr>
        </p:nvSpPr>
        <p:spPr bwMode="gray">
          <a:xfrm>
            <a:off x="5619750" y="299878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AA33954-BD64-4067-A476-D3F31281C16C}" type="datetime'25''.6''''''''''''''''''''''''''''''''''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5.6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9" name="Rectangle 298"/>
          <p:cNvSpPr>
            <a:spLocks noGrp="1" noChangeArrowheads="1"/>
          </p:cNvSpPr>
          <p:nvPr>
            <p:custDataLst>
              <p:tags r:id="rId104"/>
            </p:custDataLst>
          </p:nvPr>
        </p:nvSpPr>
        <p:spPr bwMode="auto">
          <a:xfrm>
            <a:off x="795338" y="2322513"/>
            <a:ext cx="2143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8836CDA9-1E1B-48F9-B812-BB626E1320C8}" type="datetime'''''''''''''''''''''''1''''0''0''''%'''''''''''''">
              <a:rPr lang="en-US" altLang="en-US" sz="7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100%</a:t>
            </a:fld>
            <a:endParaRPr lang="en-US" sz="7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7" name="Rectangle 876"/>
          <p:cNvSpPr>
            <a:spLocks noGrp="1" noChangeArrowheads="1"/>
          </p:cNvSpPr>
          <p:nvPr>
            <p:custDataLst>
              <p:tags r:id="rId105"/>
            </p:custDataLst>
          </p:nvPr>
        </p:nvSpPr>
        <p:spPr bwMode="gray">
          <a:xfrm>
            <a:off x="4632325" y="519588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68418AC-6331-4893-9BD2-C2684C8B9214}" type="datetime'''''''3''''0''''''''''''''''''''''''.''2''''''%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2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4" name="Rectangle 863"/>
          <p:cNvSpPr>
            <a:spLocks noGrp="1" noChangeArrowheads="1"/>
          </p:cNvSpPr>
          <p:nvPr>
            <p:custDataLst>
              <p:tags r:id="rId106"/>
            </p:custDataLst>
          </p:nvPr>
        </p:nvSpPr>
        <p:spPr bwMode="gray">
          <a:xfrm>
            <a:off x="1730375" y="431482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82404A1-59E8-4121-843A-C1B68E75ED85}" type="datetime'3''''''0.''''''''''''''''''''''9''''''''''''''''''''%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9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1" name="Rectangle 880"/>
          <p:cNvSpPr>
            <a:spLocks noGrp="1" noChangeArrowheads="1"/>
          </p:cNvSpPr>
          <p:nvPr>
            <p:custDataLst>
              <p:tags r:id="rId107"/>
            </p:custDataLst>
          </p:nvPr>
        </p:nvSpPr>
        <p:spPr bwMode="gray">
          <a:xfrm>
            <a:off x="5600700" y="518318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5D5ECCD-052B-4894-ADAC-4949D14CD77D}" type="datetime'''3''''''''''''''''''''''''1''''''''''''''''''''''''.0''%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0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1" name="Rectangle 860"/>
          <p:cNvSpPr>
            <a:spLocks noGrp="1" noChangeArrowheads="1"/>
          </p:cNvSpPr>
          <p:nvPr>
            <p:custDataLst>
              <p:tags r:id="rId108"/>
            </p:custDataLst>
          </p:nvPr>
        </p:nvSpPr>
        <p:spPr bwMode="gray">
          <a:xfrm>
            <a:off x="1246188" y="53467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FBCF403-06A6-4432-B1F9-63AFE2413494}" type="datetime'''''''''''''''''''2''1''.''''4''''''%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1.4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2" name="Rectangle 881"/>
          <p:cNvSpPr>
            <a:spLocks noGrp="1" noChangeArrowheads="1"/>
          </p:cNvSpPr>
          <p:nvPr>
            <p:custDataLst>
              <p:tags r:id="rId109"/>
            </p:custDataLst>
          </p:nvPr>
        </p:nvSpPr>
        <p:spPr bwMode="gray">
          <a:xfrm>
            <a:off x="5600700" y="404018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6818761-3814-4273-A42D-33A4510EBB48}" type="datetime'''''''''''''''''3''''5.''''''''''''''''''''''''7''''%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563" name="Rectangle 562"/>
          <p:cNvSpPr>
            <a:spLocks noGrp="1" noChangeArrowheads="1"/>
          </p:cNvSpPr>
          <p:nvPr>
            <p:custDataLst>
              <p:tags r:id="rId110"/>
            </p:custDataLst>
          </p:nvPr>
        </p:nvSpPr>
        <p:spPr bwMode="gray">
          <a:xfrm>
            <a:off x="1265238" y="334803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0CEE0B7-D9E0-49A3-885E-99E64CB6A114}" type="datetime'''''''''''''''''''''''3''''9.5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9.5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5" name="Rectangle 294"/>
          <p:cNvSpPr>
            <a:spLocks noGrp="1" noChangeArrowheads="1"/>
          </p:cNvSpPr>
          <p:nvPr>
            <p:custDataLst>
              <p:tags r:id="rId111"/>
            </p:custDataLst>
          </p:nvPr>
        </p:nvSpPr>
        <p:spPr bwMode="gray">
          <a:xfrm>
            <a:off x="4738689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4505A9F-BCBD-42A8-A5FC-2A0C3E8F6B8E}" type="datetime'''''''''''''''''''29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9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9" name="Rectangle 188"/>
          <p:cNvSpPr>
            <a:spLocks noGrp="1" noChangeArrowheads="1"/>
          </p:cNvSpPr>
          <p:nvPr>
            <p:custDataLst>
              <p:tags r:id="rId112"/>
            </p:custDataLst>
          </p:nvPr>
        </p:nvSpPr>
        <p:spPr bwMode="gray">
          <a:xfrm>
            <a:off x="6137275" y="2487613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2617964-FE81-40B3-99E5-55FD38AEE360}" type="datetime'''''''''''''4''''''''''''''''.''''4''''''''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4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9" name="Rectangle 638"/>
          <p:cNvSpPr>
            <a:spLocks noGrp="1" noChangeArrowheads="1"/>
          </p:cNvSpPr>
          <p:nvPr>
            <p:custDataLst>
              <p:tags r:id="rId113"/>
            </p:custDataLst>
          </p:nvPr>
        </p:nvSpPr>
        <p:spPr bwMode="gray">
          <a:xfrm>
            <a:off x="2716213" y="313213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2931DDA-8F01-4E98-906F-ED22B78B8091}" type="datetime'''''''''31''''.''''''''4''''''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4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5" name="Rectangle 634"/>
          <p:cNvSpPr>
            <a:spLocks noGrp="1" noChangeArrowheads="1"/>
          </p:cNvSpPr>
          <p:nvPr>
            <p:custDataLst>
              <p:tags r:id="rId114"/>
            </p:custDataLst>
          </p:nvPr>
        </p:nvSpPr>
        <p:spPr bwMode="gray">
          <a:xfrm>
            <a:off x="1749425" y="32051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8D67BAC-DD70-474F-B6A8-BDB20BC39979}" type="datetime'''''''''''''''''''''3''4''.''''''''5''''''''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4.5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93" name="Rectangle 892"/>
          <p:cNvSpPr>
            <a:spLocks noGrp="1" noChangeArrowheads="1"/>
          </p:cNvSpPr>
          <p:nvPr>
            <p:custDataLst>
              <p:tags r:id="rId115"/>
            </p:custDataLst>
          </p:nvPr>
        </p:nvSpPr>
        <p:spPr bwMode="gray">
          <a:xfrm>
            <a:off x="8018463" y="40068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84D26C8-DA67-40A7-A0C1-9B315C7E3837}" type="datetime'3''''''''''''5''''.''''''8''''%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8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6" name="Rectangle 295"/>
          <p:cNvSpPr>
            <a:spLocks noGrp="1" noChangeArrowheads="1"/>
          </p:cNvSpPr>
          <p:nvPr>
            <p:custDataLst>
              <p:tags r:id="rId116"/>
            </p:custDataLst>
          </p:nvPr>
        </p:nvSpPr>
        <p:spPr bwMode="gray">
          <a:xfrm>
            <a:off x="4254501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6AC0BA5-C443-4666-AD3A-65EF8C1ADC2F}" type="datetime'''''''''2''''''''''''''''''''''7''''''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7" name="Rectangle 256"/>
          <p:cNvSpPr>
            <a:spLocks noGrp="1" noChangeArrowheads="1"/>
          </p:cNvSpPr>
          <p:nvPr>
            <p:custDataLst>
              <p:tags r:id="rId117"/>
            </p:custDataLst>
          </p:nvPr>
        </p:nvSpPr>
        <p:spPr bwMode="auto">
          <a:xfrm>
            <a:off x="6575425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90F7DF3-D1F9-4314-AEFE-014FBDB40A0F}" type="datetime'''''''2''''''026''''''''''E''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6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62" name="Rectangle 861"/>
          <p:cNvSpPr>
            <a:spLocks noGrp="1" noChangeArrowheads="1"/>
          </p:cNvSpPr>
          <p:nvPr>
            <p:custDataLst>
              <p:tags r:id="rId118"/>
            </p:custDataLst>
          </p:nvPr>
        </p:nvSpPr>
        <p:spPr bwMode="gray">
          <a:xfrm>
            <a:off x="1246188" y="449738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57D532B-3A00-4A87-9DF6-636E46FC5F3F}" type="datetime'''''''2''''''''''8''''''''''.''''1''''''''''''''''''%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8.1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6" name="Rectangle 285"/>
          <p:cNvSpPr>
            <a:spLocks noGrp="1" noChangeArrowheads="1"/>
          </p:cNvSpPr>
          <p:nvPr>
            <p:custDataLst>
              <p:tags r:id="rId119"/>
            </p:custDataLst>
          </p:nvPr>
        </p:nvSpPr>
        <p:spPr bwMode="auto">
          <a:xfrm>
            <a:off x="1290638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B2ABF16-4320-470A-8686-B119470623F8}" type="datetime'''''''2''0''''''''''''''''''''''''''''''1''''''5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5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>
            <p:custDataLst>
              <p:tags r:id="rId120"/>
            </p:custDataLst>
          </p:nvPr>
        </p:nvSpPr>
        <p:spPr bwMode="gray">
          <a:xfrm>
            <a:off x="1784350" y="2551113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DB46F93-2895-4926-9AE9-5EE803CE616D}" type="datetime'''''3''''''''''''''''''''''.''8''''''''''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8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3" name="Rectangle 652"/>
          <p:cNvSpPr>
            <a:spLocks noGrp="1" noChangeArrowheads="1"/>
          </p:cNvSpPr>
          <p:nvPr>
            <p:custDataLst>
              <p:tags r:id="rId121"/>
            </p:custDataLst>
          </p:nvPr>
        </p:nvSpPr>
        <p:spPr bwMode="gray">
          <a:xfrm>
            <a:off x="6102350" y="2990850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D4DCB75-9A42-439E-896A-D838392BB34D}" type="datetime'''''''''''''''''''''''''''''''''''24''''''.9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9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3" name="Rectangle 862"/>
          <p:cNvSpPr>
            <a:spLocks noGrp="1" noChangeArrowheads="1"/>
          </p:cNvSpPr>
          <p:nvPr>
            <p:custDataLst>
              <p:tags r:id="rId122"/>
            </p:custDataLst>
          </p:nvPr>
        </p:nvSpPr>
        <p:spPr bwMode="gray">
          <a:xfrm>
            <a:off x="1730375" y="527843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CB0A158-E645-4308-A1DE-822930F1CC3E}" type="datetime'''2''''''''''''''5''''''''''.''''4%''''''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5.4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3" name="Rectangle 282"/>
          <p:cNvSpPr>
            <a:spLocks noGrp="1" noChangeArrowheads="1"/>
          </p:cNvSpPr>
          <p:nvPr>
            <p:custDataLst>
              <p:tags r:id="rId123"/>
            </p:custDataLst>
          </p:nvPr>
        </p:nvSpPr>
        <p:spPr bwMode="auto">
          <a:xfrm>
            <a:off x="1774825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2C61E22-9168-4443-A7E0-2B9607C8C025}" type="datetime'''''''''''''''2''''''''''''''''''''01''''''''6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6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8" name="Rectangle 637"/>
          <p:cNvSpPr>
            <a:spLocks noGrp="1" noChangeArrowheads="1"/>
          </p:cNvSpPr>
          <p:nvPr>
            <p:custDataLst>
              <p:tags r:id="rId124"/>
            </p:custDataLst>
          </p:nvPr>
        </p:nvSpPr>
        <p:spPr bwMode="gray">
          <a:xfrm>
            <a:off x="2266950" y="2547938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0C085D3-CAB7-4F4E-BB45-F6906CDD8CA9}" type="datetime'''''''''''''''3''.''''''''''''''''''''''6''''''''''''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6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7" name="Rectangle 636"/>
          <p:cNvSpPr>
            <a:spLocks noGrp="1" noChangeArrowheads="1"/>
          </p:cNvSpPr>
          <p:nvPr>
            <p:custDataLst>
              <p:tags r:id="rId125"/>
            </p:custDataLst>
          </p:nvPr>
        </p:nvSpPr>
        <p:spPr bwMode="gray">
          <a:xfrm>
            <a:off x="2232025" y="313372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1D25E71-2994-49C3-983C-DD70B6FDDEE8}" type="datetime'''''''''''''''3''''''0''''.5%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5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87" name="Rectangle 186"/>
          <p:cNvSpPr>
            <a:spLocks noGrp="1" noChangeArrowheads="1"/>
          </p:cNvSpPr>
          <p:nvPr>
            <p:custDataLst>
              <p:tags r:id="rId126"/>
            </p:custDataLst>
          </p:nvPr>
        </p:nvSpPr>
        <p:spPr bwMode="gray">
          <a:xfrm>
            <a:off x="5170488" y="2487613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A577877-B5BB-4295-A22B-154C1209F265}" type="datetime'''''''''''4.''''''''''''''''''1''''%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1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7" name="Rectangle 866"/>
          <p:cNvSpPr>
            <a:spLocks noGrp="1" noChangeArrowheads="1"/>
          </p:cNvSpPr>
          <p:nvPr>
            <p:custDataLst>
              <p:tags r:id="rId127"/>
            </p:custDataLst>
          </p:nvPr>
        </p:nvSpPr>
        <p:spPr bwMode="gray">
          <a:xfrm>
            <a:off x="2212975" y="420846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E6E8E6C-A453-47B8-B6D7-B1D082A9C6F9}" type="datetime'3''''''2''''.''''''''''''7%''''''''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2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5" name="Rectangle 864"/>
          <p:cNvSpPr>
            <a:spLocks noGrp="1" noChangeArrowheads="1"/>
          </p:cNvSpPr>
          <p:nvPr>
            <p:custDataLst>
              <p:tags r:id="rId128"/>
            </p:custDataLst>
          </p:nvPr>
        </p:nvSpPr>
        <p:spPr bwMode="gray">
          <a:xfrm>
            <a:off x="2212975" y="524033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1F0F693-1A99-4D1D-84C4-A75C74588F4E}" type="datetime'2''''''''''''7''''''''''.''''''''''''6%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7" name="Rectangle 266"/>
          <p:cNvSpPr>
            <a:spLocks noGrp="1" noChangeArrowheads="1"/>
          </p:cNvSpPr>
          <p:nvPr>
            <p:custDataLst>
              <p:tags r:id="rId129"/>
            </p:custDataLst>
          </p:nvPr>
        </p:nvSpPr>
        <p:spPr bwMode="auto">
          <a:xfrm>
            <a:off x="3673475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D81110-CE25-4CEA-8FF4-BE9962E1E145}" type="datetime'''''''''2''''''''''''0''''''''20''''''''''''''''''''''''''''E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0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8" name="Rectangle 287"/>
          <p:cNvSpPr>
            <a:spLocks noGrp="1" noChangeArrowheads="1"/>
          </p:cNvSpPr>
          <p:nvPr>
            <p:custDataLst>
              <p:tags r:id="rId130"/>
            </p:custDataLst>
          </p:nvPr>
        </p:nvSpPr>
        <p:spPr bwMode="gray">
          <a:xfrm>
            <a:off x="7158039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E7EE88A-B8D5-4239-8B32-03DEA06FBAE8}" type="datetime'''''''''''3''''''7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7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0" name="Rectangle 289"/>
          <p:cNvSpPr>
            <a:spLocks noGrp="1" noChangeArrowheads="1"/>
          </p:cNvSpPr>
          <p:nvPr>
            <p:custDataLst>
              <p:tags r:id="rId131"/>
            </p:custDataLst>
          </p:nvPr>
        </p:nvSpPr>
        <p:spPr bwMode="auto">
          <a:xfrm>
            <a:off x="2257425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0361D15-3FD0-4863-86BE-1F0460C75340}" type="datetime'''''''''''''''''2''''''''''''''''''''''0''1''7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7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0" name="Rectangle 639"/>
          <p:cNvSpPr>
            <a:spLocks noGrp="1" noChangeArrowheads="1"/>
          </p:cNvSpPr>
          <p:nvPr>
            <p:custDataLst>
              <p:tags r:id="rId132"/>
            </p:custDataLst>
          </p:nvPr>
        </p:nvSpPr>
        <p:spPr bwMode="gray">
          <a:xfrm>
            <a:off x="2751138" y="2530475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F89ECC2-5925-418C-821A-7E5EC4B9B921}" type="datetime'''''''''''''''3''.''''''''''''''7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7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9" name="Rectangle 868"/>
          <p:cNvSpPr>
            <a:spLocks noGrp="1" noChangeArrowheads="1"/>
          </p:cNvSpPr>
          <p:nvPr>
            <p:custDataLst>
              <p:tags r:id="rId133"/>
            </p:custDataLst>
          </p:nvPr>
        </p:nvSpPr>
        <p:spPr bwMode="gray">
          <a:xfrm>
            <a:off x="2697163" y="422116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9B122FF-79FC-449A-A9B8-20A8316CEC29}" type="datetime'''''''3''''''''''''''''''''''''''''2.''''''''''6''%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2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8" name="Rectangle 867"/>
          <p:cNvSpPr>
            <a:spLocks noGrp="1" noChangeArrowheads="1"/>
          </p:cNvSpPr>
          <p:nvPr>
            <p:custDataLst>
              <p:tags r:id="rId134"/>
            </p:custDataLst>
          </p:nvPr>
        </p:nvSpPr>
        <p:spPr bwMode="gray">
          <a:xfrm>
            <a:off x="2697163" y="524668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B6BC7A2-2B99-4877-B408-F03A33D18A93}" type="datetime'''''''2''''7''''''.''''''''''''''3''%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.3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8" name="Rectangle 887"/>
          <p:cNvSpPr>
            <a:spLocks noGrp="1" noChangeArrowheads="1"/>
          </p:cNvSpPr>
          <p:nvPr>
            <p:custDataLst>
              <p:tags r:id="rId135"/>
            </p:custDataLst>
          </p:nvPr>
        </p:nvSpPr>
        <p:spPr bwMode="gray">
          <a:xfrm>
            <a:off x="7051675" y="51689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44DE0CD-38B4-4BAD-AEDA-729DD7D09F71}" type="datetime'3''''''''1''''''''''.''''''''''8%''''''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8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9" name="Rectangle 268"/>
          <p:cNvSpPr>
            <a:spLocks noGrp="1" noChangeArrowheads="1"/>
          </p:cNvSpPr>
          <p:nvPr>
            <p:custDataLst>
              <p:tags r:id="rId136"/>
            </p:custDataLst>
          </p:nvPr>
        </p:nvSpPr>
        <p:spPr bwMode="auto">
          <a:xfrm>
            <a:off x="2741613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EDCBD8C-4F39-4567-A5B7-96B427CA532C}" type="datetime'''''''2''''''''''''''''''''''''0''''''1''''''''''''''''8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8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2" name="Rectangle 641"/>
          <p:cNvSpPr>
            <a:spLocks noGrp="1" noChangeArrowheads="1"/>
          </p:cNvSpPr>
          <p:nvPr>
            <p:custDataLst>
              <p:tags r:id="rId137"/>
            </p:custDataLst>
          </p:nvPr>
        </p:nvSpPr>
        <p:spPr bwMode="gray">
          <a:xfrm>
            <a:off x="3235325" y="2474913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C660B23-5CE1-4104-8A9C-CAEDE1DD273B}" type="datetime'''3.''''4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4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1" name="Rectangle 640"/>
          <p:cNvSpPr>
            <a:spLocks noGrp="1" noChangeArrowheads="1"/>
          </p:cNvSpPr>
          <p:nvPr>
            <p:custDataLst>
              <p:tags r:id="rId138"/>
            </p:custDataLst>
          </p:nvPr>
        </p:nvSpPr>
        <p:spPr bwMode="gray">
          <a:xfrm>
            <a:off x="3200400" y="3079750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EBB3F3E-BF34-4EC1-82AC-1627817EBD1E}" type="datetime'3''''''''1''''''''.''''9''''''''''''''''''''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9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9" name="Rectangle 878"/>
          <p:cNvSpPr>
            <a:spLocks noGrp="1" noChangeArrowheads="1"/>
          </p:cNvSpPr>
          <p:nvPr>
            <p:custDataLst>
              <p:tags r:id="rId139"/>
            </p:custDataLst>
          </p:nvPr>
        </p:nvSpPr>
        <p:spPr bwMode="gray">
          <a:xfrm>
            <a:off x="5116513" y="518795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C9FBEDD-4B02-41D4-8DFB-73AD18244574}" type="datetime'3''0''''''''''''''''''''.''''''''''''7''''''''''%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1" name="Rectangle 870"/>
          <p:cNvSpPr>
            <a:spLocks noGrp="1" noChangeArrowheads="1"/>
          </p:cNvSpPr>
          <p:nvPr>
            <p:custDataLst>
              <p:tags r:id="rId140"/>
            </p:custDataLst>
          </p:nvPr>
        </p:nvSpPr>
        <p:spPr bwMode="gray">
          <a:xfrm>
            <a:off x="3181350" y="41894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FBF02C6-0BE5-4885-BAE5-DB801887B769}" type="datetime'''''33''''''''''''''''''''''.4''''%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3.4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0" name="Rectangle 869"/>
          <p:cNvSpPr>
            <a:spLocks noGrp="1" noChangeArrowheads="1"/>
          </p:cNvSpPr>
          <p:nvPr>
            <p:custDataLst>
              <p:tags r:id="rId141"/>
            </p:custDataLst>
          </p:nvPr>
        </p:nvSpPr>
        <p:spPr bwMode="gray">
          <a:xfrm>
            <a:off x="3181350" y="5237163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D6E5782-47D5-4550-A89B-C7B2D3CCEE95}" type="datetime'''''27''.''''''7''''''''''''''''''''''''''''''''%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4" name="Rectangle 643"/>
          <p:cNvSpPr>
            <a:spLocks noGrp="1" noChangeArrowheads="1"/>
          </p:cNvSpPr>
          <p:nvPr>
            <p:custDataLst>
              <p:tags r:id="rId142"/>
            </p:custDataLst>
          </p:nvPr>
        </p:nvSpPr>
        <p:spPr bwMode="gray">
          <a:xfrm>
            <a:off x="3719513" y="2470150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0285AE9-E5D8-401F-A4C8-7C97B6657251}" type="datetime'''''''''''''''''3.''''''''''''''''''''''3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3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143"/>
            </p:custDataLst>
          </p:nvPr>
        </p:nvSpPr>
        <p:spPr bwMode="gray">
          <a:xfrm>
            <a:off x="8502650" y="51657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E6E593B-5650-40F3-86AC-81CEEBEB8939}" type="datetime'3''''''''2''''''''''''''''''''.''''''''0''''''''''''''''''%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2.0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3" name="Rectangle 642"/>
          <p:cNvSpPr>
            <a:spLocks noGrp="1" noChangeArrowheads="1"/>
          </p:cNvSpPr>
          <p:nvPr>
            <p:custDataLst>
              <p:tags r:id="rId144"/>
            </p:custDataLst>
          </p:nvPr>
        </p:nvSpPr>
        <p:spPr bwMode="gray">
          <a:xfrm>
            <a:off x="3684588" y="30527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6F6E298-F964-42CE-B7C2-F961DDFA68FE}" type="datetime'''''''''''''''''''30''''''''''''''''''''''.''''7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7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3" name="Rectangle 872"/>
          <p:cNvSpPr>
            <a:spLocks noGrp="1" noChangeArrowheads="1"/>
          </p:cNvSpPr>
          <p:nvPr>
            <p:custDataLst>
              <p:tags r:id="rId145"/>
            </p:custDataLst>
          </p:nvPr>
        </p:nvSpPr>
        <p:spPr bwMode="gray">
          <a:xfrm>
            <a:off x="3665538" y="41592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519813E-D06C-4FCA-A264-F5A82FBA51F3}" type="datetime'3''''''''4''.''''''''''''''4''''''''''''''%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4.4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2" name="Rectangle 871"/>
          <p:cNvSpPr>
            <a:spLocks noGrp="1" noChangeArrowheads="1"/>
          </p:cNvSpPr>
          <p:nvPr>
            <p:custDataLst>
              <p:tags r:id="rId146"/>
            </p:custDataLst>
          </p:nvPr>
        </p:nvSpPr>
        <p:spPr bwMode="gray">
          <a:xfrm>
            <a:off x="3665538" y="5230813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60D23AE-D755-4C7C-A8A4-BC7A39CEBD9C}" type="datetime'''''''''''''''''''2''''''''''''''''''8''''''.''1''''%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8.1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6" name="Rectangle 645"/>
          <p:cNvSpPr>
            <a:spLocks noGrp="1" noChangeArrowheads="1"/>
          </p:cNvSpPr>
          <p:nvPr>
            <p:custDataLst>
              <p:tags r:id="rId147"/>
            </p:custDataLst>
          </p:nvPr>
        </p:nvSpPr>
        <p:spPr bwMode="gray">
          <a:xfrm>
            <a:off x="4202113" y="2470150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B96BEF0-8EBC-405B-B945-D2A30102D077}" type="datetime'''''''3''''''.4''''''''%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4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5" name="Rectangle 644"/>
          <p:cNvSpPr>
            <a:spLocks noGrp="1" noChangeArrowheads="1"/>
          </p:cNvSpPr>
          <p:nvPr>
            <p:custDataLst>
              <p:tags r:id="rId148"/>
            </p:custDataLst>
          </p:nvPr>
        </p:nvSpPr>
        <p:spPr bwMode="gray">
          <a:xfrm>
            <a:off x="4167188" y="30146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E6DC1C7-3C9F-464A-B6E2-52F4434F4842}" type="datetime'''''''''''28''''.''''''''''''''4''''''''''''''''''''''''''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8.4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3" name="Rectangle 882"/>
          <p:cNvSpPr>
            <a:spLocks noGrp="1" noChangeArrowheads="1"/>
          </p:cNvSpPr>
          <p:nvPr>
            <p:custDataLst>
              <p:tags r:id="rId149"/>
            </p:custDataLst>
          </p:nvPr>
        </p:nvSpPr>
        <p:spPr bwMode="gray">
          <a:xfrm>
            <a:off x="6083300" y="517525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273E330-AE32-4064-B7A0-275FD2678EA9}" type="datetime'''''''''''''3''''''''1''''''''.''''''''''''''''4%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4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4" name="Rectangle 873"/>
          <p:cNvSpPr>
            <a:spLocks noGrp="1" noChangeArrowheads="1"/>
          </p:cNvSpPr>
          <p:nvPr>
            <p:custDataLst>
              <p:tags r:id="rId150"/>
            </p:custDataLst>
          </p:nvPr>
        </p:nvSpPr>
        <p:spPr bwMode="gray">
          <a:xfrm>
            <a:off x="4148138" y="5205413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24FF071-DD7A-4C02-ACF9-9EE78B14A13C}" type="datetime'2''''''''''''9''''''''''''''''''''.''''6''''''''''%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9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3" name="Rectangle 262"/>
          <p:cNvSpPr>
            <a:spLocks noGrp="1" noChangeArrowheads="1"/>
          </p:cNvSpPr>
          <p:nvPr>
            <p:custDataLst>
              <p:tags r:id="rId151"/>
            </p:custDataLst>
          </p:nvPr>
        </p:nvSpPr>
        <p:spPr bwMode="auto">
          <a:xfrm>
            <a:off x="4156075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656D6E4-B8A7-4BEE-A596-AF7D679F0FDF}" type="datetime'''''''''''''''''''''''20''''''''''''2''''''''1''''''''E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1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9" name="Rectangle 178"/>
          <p:cNvSpPr>
            <a:spLocks noGrp="1" noChangeArrowheads="1"/>
          </p:cNvSpPr>
          <p:nvPr>
            <p:custDataLst>
              <p:tags r:id="rId152"/>
            </p:custDataLst>
          </p:nvPr>
        </p:nvSpPr>
        <p:spPr bwMode="gray">
          <a:xfrm>
            <a:off x="4686300" y="2478088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0A585DE-EA3E-4258-AB76-447E4C7347CF}" type="datetime'''''3''''''''''''''''''''''''.''8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8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5" name="Rectangle 654"/>
          <p:cNvSpPr>
            <a:spLocks noGrp="1" noChangeArrowheads="1"/>
          </p:cNvSpPr>
          <p:nvPr>
            <p:custDataLst>
              <p:tags r:id="rId153"/>
            </p:custDataLst>
          </p:nvPr>
        </p:nvSpPr>
        <p:spPr bwMode="gray">
          <a:xfrm>
            <a:off x="6586538" y="298767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DF01240-3CA1-4C83-9293-E8B28B6F1203}" type="datetime'''2''''4''''''''''''''.''''''''''''''7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7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7" name="Rectangle 646"/>
          <p:cNvSpPr>
            <a:spLocks noGrp="1" noChangeArrowheads="1"/>
          </p:cNvSpPr>
          <p:nvPr>
            <p:custDataLst>
              <p:tags r:id="rId154"/>
            </p:custDataLst>
          </p:nvPr>
        </p:nvSpPr>
        <p:spPr bwMode="gray">
          <a:xfrm>
            <a:off x="4651375" y="3009900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1220E29-40D8-451F-88F0-63B71AE3996F}" type="datetime'''''''''''''''''''''2''7''''.''''3''''''''''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.3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9" name="Rectangle 258"/>
          <p:cNvSpPr>
            <a:spLocks noGrp="1" noChangeArrowheads="1"/>
          </p:cNvSpPr>
          <p:nvPr>
            <p:custDataLst>
              <p:tags r:id="rId155"/>
            </p:custDataLst>
          </p:nvPr>
        </p:nvSpPr>
        <p:spPr bwMode="auto">
          <a:xfrm>
            <a:off x="5608638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24F81DC-FA82-4A8B-9F1A-E0D475CDD20F}" type="datetime'''''''''''2''''''''''0''''''''24''E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4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8" name="Rectangle 877"/>
          <p:cNvSpPr>
            <a:spLocks noGrp="1" noChangeArrowheads="1"/>
          </p:cNvSpPr>
          <p:nvPr>
            <p:custDataLst>
              <p:tags r:id="rId156"/>
            </p:custDataLst>
          </p:nvPr>
        </p:nvSpPr>
        <p:spPr bwMode="gray">
          <a:xfrm>
            <a:off x="4632325" y="407352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8FBCBE3-7D0E-4FAB-A6CD-28C944E0E9FB}" type="datetime'''''''''3''''''''5''''''''''''''''''''.4''''''%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4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7" name="Rectangle 296"/>
          <p:cNvSpPr>
            <a:spLocks noGrp="1" noChangeArrowheads="1"/>
          </p:cNvSpPr>
          <p:nvPr>
            <p:custDataLst>
              <p:tags r:id="rId157"/>
            </p:custDataLst>
          </p:nvPr>
        </p:nvSpPr>
        <p:spPr bwMode="gray">
          <a:xfrm>
            <a:off x="3771901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2D7F53C-6353-4E9A-80A0-BB3EF02637DE}" type="datetime'''''''2''''''''''''''''''''''''''''''''''''''''''4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8" name="Rectangle 257"/>
          <p:cNvSpPr>
            <a:spLocks noGrp="1" noChangeArrowheads="1"/>
          </p:cNvSpPr>
          <p:nvPr>
            <p:custDataLst>
              <p:tags r:id="rId158"/>
            </p:custDataLst>
          </p:nvPr>
        </p:nvSpPr>
        <p:spPr bwMode="auto">
          <a:xfrm>
            <a:off x="6091238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82E8BAA-0CA2-4097-95C1-DFA2D294374C}" type="datetime'''''2''''''0''25''''''''''''''''''''''E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5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1" name="Rectangle 260"/>
          <p:cNvSpPr>
            <a:spLocks noGrp="1" noChangeArrowheads="1"/>
          </p:cNvSpPr>
          <p:nvPr>
            <p:custDataLst>
              <p:tags r:id="rId159"/>
            </p:custDataLst>
          </p:nvPr>
        </p:nvSpPr>
        <p:spPr bwMode="auto">
          <a:xfrm>
            <a:off x="4640263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2211186-79D9-4A34-A006-A65675E802E2}" type="datetime'''2''''''''0''''''''''''''2''''''''''''''''2''''E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2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0" name="Rectangle 169"/>
          <p:cNvSpPr>
            <a:spLocks noGrp="1" noChangeArrowheads="1"/>
          </p:cNvSpPr>
          <p:nvPr>
            <p:custDataLst>
              <p:tags r:id="rId160"/>
            </p:custDataLst>
          </p:nvPr>
        </p:nvSpPr>
        <p:spPr bwMode="gray">
          <a:xfrm>
            <a:off x="8502650" y="40068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EED381F-3C89-4AB8-965E-53381AFFC915}" type="datetime'''''''''''''''''3''''''''''''5''''''''''''.''''''''''''7%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9" name="Rectangle 648"/>
          <p:cNvSpPr>
            <a:spLocks noGrp="1" noChangeArrowheads="1"/>
          </p:cNvSpPr>
          <p:nvPr>
            <p:custDataLst>
              <p:tags r:id="rId161"/>
            </p:custDataLst>
          </p:nvPr>
        </p:nvSpPr>
        <p:spPr bwMode="gray">
          <a:xfrm>
            <a:off x="5135563" y="3003550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BE1DC8-C61B-417E-847B-AD5E4A2AF805}" type="datetime'2''6''''''.''''''''''''''''''''''''''''1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6.1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5" name="Rectangle 884"/>
          <p:cNvSpPr>
            <a:spLocks noGrp="1" noChangeArrowheads="1"/>
          </p:cNvSpPr>
          <p:nvPr>
            <p:custDataLst>
              <p:tags r:id="rId162"/>
            </p:custDataLst>
          </p:nvPr>
        </p:nvSpPr>
        <p:spPr bwMode="gray">
          <a:xfrm>
            <a:off x="6567488" y="517207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01D4504-433F-421D-B11E-A5A07994A39C}" type="datetime'''''''''''''''''''''''''''''3''1''''''''.''''''''''6%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0" name="Rectangle 879"/>
          <p:cNvSpPr>
            <a:spLocks noGrp="1" noChangeArrowheads="1"/>
          </p:cNvSpPr>
          <p:nvPr>
            <p:custDataLst>
              <p:tags r:id="rId163"/>
            </p:custDataLst>
          </p:nvPr>
        </p:nvSpPr>
        <p:spPr bwMode="gray">
          <a:xfrm>
            <a:off x="5116513" y="405288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27B5EDB-F6BF-41FA-9DBE-A640E3C6D6E6}" type="datetime'''''''''''''3''''5''''''''.6''''''%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0" name="Rectangle 259"/>
          <p:cNvSpPr>
            <a:spLocks noGrp="1" noChangeArrowheads="1"/>
          </p:cNvSpPr>
          <p:nvPr>
            <p:custDataLst>
              <p:tags r:id="rId164"/>
            </p:custDataLst>
          </p:nvPr>
        </p:nvSpPr>
        <p:spPr bwMode="auto">
          <a:xfrm>
            <a:off x="5124450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6A0281C-B5AF-465A-9E99-9E10E57AF4E3}" type="datetime'''''''''''''''''''2''''''''''0''''2''''''''''''''''''''3E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3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8" name="Rectangle 187"/>
          <p:cNvSpPr>
            <a:spLocks noGrp="1" noChangeArrowheads="1"/>
          </p:cNvSpPr>
          <p:nvPr>
            <p:custDataLst>
              <p:tags r:id="rId165"/>
            </p:custDataLst>
          </p:nvPr>
        </p:nvSpPr>
        <p:spPr bwMode="gray">
          <a:xfrm>
            <a:off x="5654675" y="2487613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08CB773-DAC5-45DA-8067-3C6DE6C90F6E}" type="datetime'4.''2''''''%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2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4" name="Rectangle 883"/>
          <p:cNvSpPr>
            <a:spLocks noGrp="1" noChangeArrowheads="1"/>
          </p:cNvSpPr>
          <p:nvPr>
            <p:custDataLst>
              <p:tags r:id="rId166"/>
            </p:custDataLst>
          </p:nvPr>
        </p:nvSpPr>
        <p:spPr bwMode="gray">
          <a:xfrm>
            <a:off x="6083300" y="40243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8A4D5C5-F32A-4755-9A28-1A62AA742E9F}" type="datetime'''''3''''''''''''''5''.''''''''''9''''%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9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90" name="Rectangle 189"/>
          <p:cNvSpPr>
            <a:spLocks noGrp="1" noChangeArrowheads="1"/>
          </p:cNvSpPr>
          <p:nvPr>
            <p:custDataLst>
              <p:tags r:id="rId167"/>
            </p:custDataLst>
          </p:nvPr>
        </p:nvSpPr>
        <p:spPr bwMode="gray">
          <a:xfrm>
            <a:off x="6621463" y="2489200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153F0C6-0F15-42B8-8F0A-F1F25AFE8E8C}" type="datetime'4''''''''''''.''5''''''''''''''''''''%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5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6" name="Rectangle 885"/>
          <p:cNvSpPr>
            <a:spLocks noGrp="1" noChangeArrowheads="1"/>
          </p:cNvSpPr>
          <p:nvPr>
            <p:custDataLst>
              <p:tags r:id="rId168"/>
            </p:custDataLst>
          </p:nvPr>
        </p:nvSpPr>
        <p:spPr bwMode="gray">
          <a:xfrm>
            <a:off x="6567488" y="401637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671EA3-CB55-4BC9-B8B5-6CBC3B5D4487}" type="datetime'''''3''''''5''''.9''%''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9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447" name="Rectangle 446"/>
          <p:cNvSpPr>
            <a:spLocks noGrp="1" noChangeArrowheads="1"/>
          </p:cNvSpPr>
          <p:nvPr>
            <p:custDataLst>
              <p:tags r:id="rId169"/>
            </p:custDataLst>
          </p:nvPr>
        </p:nvSpPr>
        <p:spPr bwMode="gray">
          <a:xfrm>
            <a:off x="1352551" y="2003425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5E8C797-1036-40B3-BD57-B399C6D535DA}" type="datetime'''''''''''2''''''''''''''''''''''''''''''''''2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2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8" name="Rectangle 447"/>
          <p:cNvSpPr>
            <a:spLocks noGrp="1" noChangeArrowheads="1"/>
          </p:cNvSpPr>
          <p:nvPr>
            <p:custDataLst>
              <p:tags r:id="rId170"/>
            </p:custDataLst>
          </p:nvPr>
        </p:nvSpPr>
        <p:spPr bwMode="gray">
          <a:xfrm>
            <a:off x="1836739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3251F70-61FC-438B-8FF2-A98BE5755A7C}" type="datetime'''''2''''''''7''''''''''''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9" name="Rectangle 448"/>
          <p:cNvSpPr>
            <a:spLocks noGrp="1" noChangeArrowheads="1"/>
          </p:cNvSpPr>
          <p:nvPr>
            <p:custDataLst>
              <p:tags r:id="rId171"/>
            </p:custDataLst>
          </p:nvPr>
        </p:nvSpPr>
        <p:spPr bwMode="gray">
          <a:xfrm>
            <a:off x="2319339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17FA438-67BB-463C-84CB-8CF9F547D60F}" type="datetime'''''''''''''''2''''''''''''''''''9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9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4" name="Rectangle 283"/>
          <p:cNvSpPr>
            <a:spLocks noGrp="1" noChangeArrowheads="1"/>
          </p:cNvSpPr>
          <p:nvPr>
            <p:custDataLst>
              <p:tags r:id="rId172"/>
            </p:custDataLst>
          </p:nvPr>
        </p:nvSpPr>
        <p:spPr bwMode="gray">
          <a:xfrm>
            <a:off x="2803526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88598CB-8C2E-4A0B-BF09-560D903E487A}" type="datetime'''''''''''''2''''8''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8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8" name="Rectangle 297"/>
          <p:cNvSpPr>
            <a:spLocks noGrp="1" noChangeArrowheads="1"/>
          </p:cNvSpPr>
          <p:nvPr>
            <p:custDataLst>
              <p:tags r:id="rId173"/>
            </p:custDataLst>
          </p:nvPr>
        </p:nvSpPr>
        <p:spPr bwMode="gray">
          <a:xfrm>
            <a:off x="3287714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4B36B6D-5E2C-4510-9DF9-8D021EB6C5FB}" type="datetime'''''''''''''''2''''6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6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4" name="Rectangle 293"/>
          <p:cNvSpPr>
            <a:spLocks noGrp="1" noChangeArrowheads="1"/>
          </p:cNvSpPr>
          <p:nvPr>
            <p:custDataLst>
              <p:tags r:id="rId174"/>
            </p:custDataLst>
          </p:nvPr>
        </p:nvSpPr>
        <p:spPr bwMode="gray">
          <a:xfrm>
            <a:off x="5222876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16AAF0A-C33A-4CC5-B9C0-DD3CC70D0ADD}" type="datetime'''''''''''3''''''0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3" name="Rectangle 292"/>
          <p:cNvSpPr>
            <a:spLocks noGrp="1" noChangeArrowheads="1"/>
          </p:cNvSpPr>
          <p:nvPr>
            <p:custDataLst>
              <p:tags r:id="rId175"/>
            </p:custDataLst>
          </p:nvPr>
        </p:nvSpPr>
        <p:spPr bwMode="gray">
          <a:xfrm>
            <a:off x="5707064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BF64971-A088-44C1-9821-DD8333D658B7}" type="datetime'''''3''''''''''''''''''''2''''''''''''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2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2" name="Rectangle 291"/>
          <p:cNvSpPr>
            <a:spLocks noGrp="1" noChangeArrowheads="1"/>
          </p:cNvSpPr>
          <p:nvPr>
            <p:custDataLst>
              <p:tags r:id="rId176"/>
            </p:custDataLst>
          </p:nvPr>
        </p:nvSpPr>
        <p:spPr bwMode="gray">
          <a:xfrm>
            <a:off x="6189664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2DB0BEE-D8C9-47AF-A032-3A3A71466C7D}" type="datetime'''''''3''''''''''''''''''''''''3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3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9" name="Rectangle 288"/>
          <p:cNvSpPr>
            <a:spLocks noGrp="1" noChangeArrowheads="1"/>
          </p:cNvSpPr>
          <p:nvPr>
            <p:custDataLst>
              <p:tags r:id="rId177"/>
            </p:custDataLst>
          </p:nvPr>
        </p:nvSpPr>
        <p:spPr bwMode="gray">
          <a:xfrm>
            <a:off x="6673851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D991C9F-B91D-4380-B8E8-85CDC42BD8AA}" type="datetime'3''''''''''''''5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7" name="Rectangle 286"/>
          <p:cNvSpPr>
            <a:spLocks noGrp="1" noChangeArrowheads="1"/>
          </p:cNvSpPr>
          <p:nvPr>
            <p:custDataLst>
              <p:tags r:id="rId178"/>
            </p:custDataLst>
          </p:nvPr>
        </p:nvSpPr>
        <p:spPr bwMode="gray">
          <a:xfrm>
            <a:off x="7642226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669A19D-0B47-41A1-B241-974C6FDD10BF}" type="datetime'''''''''''''''3''8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8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1" name="Rectangle 280"/>
          <p:cNvSpPr>
            <a:spLocks noGrp="1" noChangeArrowheads="1"/>
          </p:cNvSpPr>
          <p:nvPr>
            <p:custDataLst>
              <p:tags r:id="rId179"/>
            </p:custDataLst>
          </p:nvPr>
        </p:nvSpPr>
        <p:spPr bwMode="gray">
          <a:xfrm>
            <a:off x="8124826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11160277-83AF-4A90-BCDF-74F70200E6B8}" type="datetime'''''''''''''''3''''9'''''''''''''''''''''''">
              <a:rPr lang="en-US" altLang="en-US" sz="1100" b="1" smtClean="0">
                <a:ea typeface="+mj-ea"/>
                <a:cs typeface="+mj-cs"/>
              </a:rPr>
              <a:pPr marL="0" indent="0" algn="ctr">
                <a:spcAft>
                  <a:spcPct val="0"/>
                </a:spcAft>
              </a:pPr>
              <a:t>39</a:t>
            </a:fld>
            <a:endParaRPr lang="zh-CN" altLang="en-US" sz="11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180"/>
            </p:custDataLst>
          </p:nvPr>
        </p:nvSpPr>
        <p:spPr bwMode="gray">
          <a:xfrm>
            <a:off x="8609014" y="2171700"/>
            <a:ext cx="1936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449D4C4-B85E-488E-8B03-0591CBA7D9DE}" type="datetime'''''''''''''''''''''4''''''''''''''''''0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0</a:t>
            </a:fld>
            <a:endParaRPr lang="en-US" sz="1100" b="1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91" name="Rectangle 190"/>
          <p:cNvSpPr>
            <a:spLocks noGrp="1" noChangeArrowheads="1"/>
          </p:cNvSpPr>
          <p:nvPr>
            <p:custDataLst>
              <p:tags r:id="rId181"/>
            </p:custDataLst>
          </p:nvPr>
        </p:nvSpPr>
        <p:spPr bwMode="gray">
          <a:xfrm>
            <a:off x="7105650" y="2489200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94D26A4-2A3A-4EA2-A250-136A27014F7B}" type="datetime'''4''''''''.''''''''''7''''''''''%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7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2231307" y="1497212"/>
            <a:ext cx="54259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 smtClean="0">
                <a:solidFill>
                  <a:srgbClr val="000000"/>
                </a:solidFill>
                <a:latin typeface="VWAG TheSans" panose="020B0502050302020203" pitchFamily="34" charset="0"/>
              </a:rPr>
              <a:t>PR1 Total Market Segment Trend</a:t>
            </a:r>
            <a:endParaRPr lang="en-US" sz="1400" b="1" u="sng" dirty="0">
              <a:solidFill>
                <a:srgbClr val="000000"/>
              </a:solidFill>
              <a:latin typeface="VWAG TheSans" panose="020B0502050302020203" pitchFamily="34" charset="0"/>
            </a:endParaRPr>
          </a:p>
        </p:txBody>
      </p:sp>
      <p:sp>
        <p:nvSpPr>
          <p:cNvPr id="171" name="Slide Number Placeholder 6"/>
          <p:cNvSpPr txBox="1">
            <a:spLocks/>
          </p:cNvSpPr>
          <p:nvPr/>
        </p:nvSpPr>
        <p:spPr bwMode="auto">
          <a:xfrm>
            <a:off x="8763000" y="6548442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defTabSz="95885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9CF5D4C-9F6E-4E1F-A3C5-05B84EDEF6B8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182" name="TextBox 181"/>
          <p:cNvSpPr txBox="1"/>
          <p:nvPr/>
        </p:nvSpPr>
        <p:spPr>
          <a:xfrm>
            <a:off x="384658" y="6207125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</a:t>
            </a:r>
            <a:r>
              <a:rPr lang="fr-FR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1</a:t>
            </a:r>
            <a:endParaRPr lang="fr-FR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416496" y="1772816"/>
            <a:ext cx="64472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 smtClean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 smtClean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6383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6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1364" name="think-cell Slide" r:id="rId81" imgW="493" imgH="493" progId="TCLayout.ActiveDocument.1">
                  <p:embed/>
                </p:oleObj>
              </mc:Choice>
              <mc:Fallback>
                <p:oleObj name="think-cell Slide" r:id="rId81" imgW="493" imgH="49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9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Titel</a:t>
            </a:r>
            <a:endParaRPr lang="en-US" dirty="0"/>
          </a:p>
        </p:txBody>
      </p:sp>
      <p:graphicFrame>
        <p:nvGraphicFramePr>
          <p:cNvPr id="108" name="Chart 10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47494812"/>
              </p:ext>
            </p:extLst>
          </p:nvPr>
        </p:nvGraphicFramePr>
        <p:xfrm>
          <a:off x="1244600" y="2122488"/>
          <a:ext cx="7548563" cy="2973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3"/>
          </a:graphicData>
        </a:graphic>
      </p:graphicFrame>
      <p:cxnSp>
        <p:nvCxnSpPr>
          <p:cNvPr id="3" name="Straight Connector 2"/>
          <p:cNvCxnSpPr/>
          <p:nvPr>
            <p:custDataLst>
              <p:tags r:id="rId5"/>
            </p:custDataLst>
          </p:nvPr>
        </p:nvCxnSpPr>
        <p:spPr bwMode="auto">
          <a:xfrm>
            <a:off x="5381625" y="2847975"/>
            <a:ext cx="0" cy="9207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Straight Connector 3"/>
          <p:cNvCxnSpPr/>
          <p:nvPr>
            <p:custDataLst>
              <p:tags r:id="rId6"/>
            </p:custDataLst>
          </p:nvPr>
        </p:nvCxnSpPr>
        <p:spPr bwMode="auto">
          <a:xfrm>
            <a:off x="8383588" y="2847975"/>
            <a:ext cx="0" cy="9207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7"/>
            </p:custDataLst>
          </p:nvPr>
        </p:nvCxnSpPr>
        <p:spPr bwMode="auto">
          <a:xfrm flipH="1">
            <a:off x="8682038" y="2940050"/>
            <a:ext cx="4445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tangle 1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311275" y="3600450"/>
            <a:ext cx="247650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445FDC6-9D5D-41B0-9170-06C6602BF242}" type="datetime'''''''''''''''''''''''''20''''''''''''''''.0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99390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CE332FB-AF47-4EAC-8906-9028327842AE}" type="datetime'1''''''''''''''.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3" name="Rectangle 2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746250" y="3935413"/>
            <a:ext cx="247650" cy="15081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B85A200-D9CC-4371-9203-4AB0DA170419}" type="datetime'''''''''''''''''''1''''''''''''''''''''''5''.''''''0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77800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43E0A5C-B08B-4DA4-B566-7753B7ED8872}" type="datetime'''''''''''''''''''''''''''''''''''''''1''''''.''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344738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B2D63CB-2541-41D6-B1DA-F2B0020BAA8D}" type="datetime'''''16''''''''''''.''''''0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602288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58AA63A-CBAE-4BBF-BA1E-1F5EA204D67C}" type="datetime'''''''''''''''''''''''1''6''''''''''''.''''''''''''''0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962150" y="3935413"/>
            <a:ext cx="247650" cy="150813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84A12EB-57BA-4B40-A116-AFA0A05DFFA7}" type="datetime'''1''''5''''''''''''''''''''''''''''''''.''''''''''''''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2428875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F4EED1B-5AE1-4E7B-B114-F9BDD2BC9D69}" type="datetime'''''''1''.0''''''''''''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253163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9A2340C-49B7-42B8-94B4-4387074973B7}" type="datetime'''''''''''''''1''''6''''.0''''''''''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7" name="Rectangle 2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397125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510D89F-1807-48B1-BAAE-134C04B5D835}" type="datetime'''1''''''''''''5''''''.''''''''''''''''''''''''0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614613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B9FCC6-F457-438C-AEAF-BF8BFDA2306B}" type="datetime'''1''''''5''''''''''''.''''0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64636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6BE6379-027E-451F-8504-009FDDBAA0F4}" type="datetime'''1''''''''''''''''''.''''''''''''''0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364807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187201F-5246-4DD7-B411-C026ED8AEADD}" type="datetime'''''1''''''''''''''''''''''6.''''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394970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0A3BBB3-8855-4478-A91E-8456446512BD}" type="datetime'''''1''''''''''''''.''''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540500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28E515D-8B20-4291-9B53-E64D3C815F2C}" type="datetime'''1''''''''6''''''''''''''''''''.''''''0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32" name="Rectangle 3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048000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3BB7C4E-86DB-4051-9CA9-8CDFAACDE5B6}" type="datetime'''''''''''''1''''''''5.''''''''0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3265488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C86F9D4-F845-4CB6-9C09-C38DBA2E9FF4}" type="datetime'''''''1''''5''''.''''''''''''''''''''''''''0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07975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3B96323-5AE6-435B-830F-1D3C1965AEAE}" type="datetime'''''''''1''''''''.''''''''''''''''''''0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3297238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0F99338-F6C4-4793-BF71-75683EF9A9C4}" type="datetime'''1''''''''''''''''''''''''''.''''''''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205413" y="2393950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5CFBFD8-0822-4D03-9532-7B62FBC46AAF}" type="datetime'1''''''''''''''''''''''''''6''''''''''.''''''0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39" name="Rectangle 38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3700463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83C83B6-D0B2-4334-9B6C-88E1D0BB317B}" type="datetime'''''''''''''''''1''''''''''''''''''''''''''''''''''5.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73221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522AD56-6997-49E0-9A33-C4423A8C7BBE}" type="datetime'''''''1''.''''''''''''''''''''''''''''0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3917950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938B132-A514-4EF4-8E81-9976213B18C3}" type="datetime'''''''''''''''''''''''''''''''''''1''''''''5.''''''''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5" name="Rectangle 1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351338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B505F4C-07FB-4E19-88EC-371F1117FAD4}" type="datetime'''''''''''''''1''''''''''''''''5''''''''.''''''''0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4383088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5A3F9B9-5436-42EC-A775-E44152EE128B}" type="datetime'''''''''''''1''''''''''''''''''.0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568825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FF487C3-FD14-4A8A-A771-DF6459BD35A3}" type="datetime'''''''''1''''5''''''''.''''0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1296988" y="2011363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0AA70C3-2F6F-492C-A1E2-A3C9C0B7D5DF}" type="datetime'''''''''''''''''2''1''''''''''''''.''''''''''''0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1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8726488" y="2789238"/>
            <a:ext cx="250825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3B46333F-B29F-4008-A829-ECE19B01C7FB}" type="datetime'''''''''''''''1''''''''''''.''''''''''''''''''''''''''''''''0'">
              <a:rPr lang="en-US" altLang="en-US" sz="90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1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1791F96F-2CE3-488C-916C-B897DDF14439}" type="datetime'''''''6''''%'''''''''''''''">
              <a:rPr lang="en-US" altLang="en-US" sz="90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6%</a:t>
            </a:fld>
            <a:r>
              <a:rPr 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600575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ECA69CD-3260-42F2-BDB7-C52A9327F0ED}" type="datetime'''''''''''''''''1.''''''''''''''0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1979613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9DD4899-25E7-48BA-B6C3-E3AEF718B084}" type="datetime'''''''''''''1''''6''''''''''''''''''''.''''''''''''0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3" name="Rectangle 12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970463" y="3873500"/>
            <a:ext cx="314325" cy="2730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05F2CDC-0160-4A40-B384-637BC99FC65A}" type="datetime'''''''''''''''1''''''5''''''''.0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D5A97594-C962-45B7-9789-965282053A13}" type="datetime'''9''''''''''''''4''''''''%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4%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41" name="Rectangle 40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5002213" y="2789238"/>
            <a:ext cx="250825" cy="3016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886940F-822C-4370-BCA0-9A7C871E8409}" type="datetime'''''''''''''''''''''''''''''''''1.''''''''0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84A42AAD-9603-4AB4-8664-940EEA8A1612}" type="datetime'''''''''6''''''''''''''''''''''''''%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6%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186363" y="3873500"/>
            <a:ext cx="314325" cy="2730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1CF8F4D-6D63-4DB9-A2EC-CD086C106F8E}" type="datetime'''''''''''''''1''''''''''''5.''''''''''''''''''''''''''0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89F8257A-DCA4-4444-8ED4-315D35BCC4B9}" type="datetime'9''''''''''''''''''''''''4''''''''''%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4%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698976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5593B26-709E-4CDD-B0E7-AA951C4BFC3B}" type="datetime'''1''''''''''''''''''''''''''''''''.''''''''''''''''0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275263" y="2546350"/>
            <a:ext cx="250825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92615FD-CD27-41AE-846F-CE73CC27A432}" type="datetime'''''''''''1''''''''.''''''''''''''''''''''''''''0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ACD33E08-8B37-4985-8BDD-C4CD178C4D80}" type="datetime'''''''''''''''6''''''''''''''''''''''''''''''%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6%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5686425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0B8190E-301A-49D5-8813-F9253481C53B}" type="datetime'''1.''''''''''''''''''0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55" name="Rectangle 54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5654675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00345F4-7330-4372-8EBD-C0386564BA65}" type="datetime'''''''1''''''''''''''''5''''''.''''''0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872163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737424F-1295-4C72-ABA0-0E4C0B7B1C52}" type="datetime'1''''''''''''''''''''''5''''''''''''''''''''''''.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590391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4CFF498-B90F-4D5D-89A2-1E860BA4DE8C}" type="datetime'''''''1''''''''''''.0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1036638" y="3587750"/>
            <a:ext cx="18415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15F4C25D-7559-4C7D-89A6-6ECAE90E334A}" type="datetime'''''''I''C''''''''''''''''''''''''''''''E'''''''''''''''''''">
              <a:rPr lang="en-US" altLang="en-US" sz="1050" b="1" smtClean="0">
                <a:sym typeface="+mn-lt"/>
              </a:rPr>
              <a:pPr algn="r">
                <a:spcAft>
                  <a:spcPct val="0"/>
                </a:spcAft>
              </a:pPr>
              <a:t>ICE</a:t>
            </a:fld>
            <a:endParaRPr lang="en-US" sz="1050" b="1" dirty="0" smtClean="0">
              <a:sym typeface="+mn-lt"/>
            </a:endParaRPr>
          </a:p>
        </p:txBody>
      </p:sp>
      <p:sp useBgFill="1">
        <p:nvSpPr>
          <p:cNvPr id="33" name="Rectangle 32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6305550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A146A3F-98B2-4653-846B-AD33FBE20FCF}" type="datetime'''''''1''''''5''''''''''''''''''.''''''''0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205663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6E1A0B9-06E4-4959-B847-B0B888A38986}" type="datetime'''''''1''''''.''''''''''''''''''''0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6337300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7B35667-4069-42C9-90EA-CF08BC4B7764}" type="datetime'1''''''.''''''''''''''''''0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2995613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C0C3D48-AD3F-43C9-B71D-81DE409D6915}" type="datetime'1''''''6''''''''''''''''''''''.''''''''''''''''0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6554788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FAECD8B-E3D5-4ADA-AA4A-1B2DFBA12275}" type="datetime'''''''''''''''''1''''''''''''''''''.''''''''''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7826375" y="3935413"/>
            <a:ext cx="247650" cy="150813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E763223-961C-4FFF-9290-C2E8F3D502C5}" type="datetime'''''''''''''''''''''''''1''''''''''''5''.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40" name="Rectangle 39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6958013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12CA050-97C4-41D8-ADE8-82869C664434}" type="datetime'1''''''''''''''''5''''''''''''''''''''.0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4298950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DA3CD96-370D-4EE5-9C58-5FF174197238}" type="datetime'''''''''''''''1''''''''6''.''0''''''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7173913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7E948CF-B3F6-4BB7-A412-0876EA1A7E26}" type="datetime'''''''1''5''''''''''''.''0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8258175" y="2546350"/>
            <a:ext cx="250825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EF7C99C-F753-49EB-B304-8A70850BFACE}" type="datetime'1''''''''''''''''''''''.''''''''''''''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153FAB2C-0BC3-4540-B7B2-0ED0DCBC8B48}" type="datetime'''''''''''''''6''''''''''''%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6%</a:t>
            </a:fld>
            <a:r>
              <a:rPr 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62" name="Rectangle 61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7608888" y="3941763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A9EFBF3-FE45-4E03-BF6A-E81F6160CD3E}" type="datetime'1''''5''''''''.''''''''''''''''''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7640638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6D2DFF6-1C93-4754-BF97-43C9A2D62E90}" type="datetime'''''''''''''1''''''''''''''''''''.''''''''''''''0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263207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7FEAEF7-8EB6-4521-81F0-A2663C56E920}" type="datetime'''''''''''''1''''6.''''''0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96" name="Rectangle 95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8226425" y="3859213"/>
            <a:ext cx="314325" cy="3016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E290E8C-54CD-43B6-BB51-AAA003E42DFC}" type="datetime'''''''1''''''''''''''''''''''''''5''''''.''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043CE407-C55C-49E5-ACAD-DED8E4ADD4AC}" type="datetime'''''''''''''''''''''''94''''''''''''''%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94%</a:t>
            </a:fld>
            <a:r>
              <a:rPr lang="en-US" sz="900" noProof="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494982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E11B893-7E0E-460C-BF06-33B85DDFFD3D}" type="datetime'''''''''''''1''''''6''''''''''''''''''''.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8443913" y="3859213"/>
            <a:ext cx="314325" cy="3016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A1263E2-530D-42EC-9C91-FD3835B04D32}" type="datetime'1''''5''''''''''''''.''''''''''''''''''''''''''0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5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398B6C78-AC4F-4F0A-B6D9-DDCCF86B090A}" type="datetime'''''''''''''''''''''''''''''9''''''''''''''''''4''''%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94%</a:t>
            </a:fld>
            <a:r>
              <a:rPr lang="en-US" sz="900" noProof="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973138" y="2205038"/>
            <a:ext cx="24765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E7373453-A6ED-4E7A-B92C-07A6706BCD25}" type="datetime'''''''''''''''''''''''''''''N''''''''''''E''''''''''V'''''">
              <a:rPr lang="en-US" altLang="en-US" sz="1050" b="1" smtClean="0">
                <a:sym typeface="+mn-lt"/>
              </a:rPr>
              <a:pPr algn="r">
                <a:spcAft>
                  <a:spcPct val="0"/>
                </a:spcAft>
              </a:pPr>
              <a:t>NEV</a:t>
            </a:fld>
            <a:endParaRPr lang="en-US" sz="1050" b="1" dirty="0" smtClean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3282950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E700A62-AE66-4B00-8353-C22F506B6A55}" type="datetime'''''''''''''''''''''16''''''''''''''''.''''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3935413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0D3E0B1-1296-4A86-9799-6B061149DFB5}" type="datetime'''1''6''''''''''''''''''''''''.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4586288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7220DE0-4BEE-457D-9A71-73E58EDDE3C1}" type="datetime'''''''''''''1''''''''''''''''6''''''''''''''''''.''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588962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6906727-C6D2-4715-9EFD-27662D22019F}" type="datetime'''''''''''''16''''''''.''0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7858125" y="28654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ED80440-36D5-4DE4-B08F-8CCAC32351E3}" type="datetime'''''''''''''''''''''''1''''''''''''.''''''''''0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719137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C803C15-F647-479A-86CA-EDB32F6AE0F8}" type="datetime'''''1''6''''''''''''''''''.''''''''''0''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7556500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82F532E-355C-4168-975D-FAE2ADD3A045}" type="datetime'''''''''1''''6''''.''''''''''''''''0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7843838" y="2620963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9B4699D-6141-4FA6-AE86-62CC7AAB546D}" type="datetime'''''''''''''''16''''''''.''''''''''''''''''''''''0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8245475" y="237807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D01B72D-1217-4A7B-9CEE-68DA89DAEA58}" type="datetime'''''''''''''''1''''''''6.''''''''''''0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8501063" y="2620963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0B5EB0-090F-4BF5-A5E2-C44C8F098A41}" type="datetime'''''''''1''6''.''''''''''''''''''0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gray">
          <a:xfrm>
            <a:off x="1343025" y="219710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218CDD5-122E-43B4-AD9C-98235C4842E6}" type="datetime'''1''''''.''''''''''''''''''''''''''''''''''''''''''''''0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1692275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4AE03F2-9057-485F-B0BF-7638A792DA1C}" type="datetime'''1''''''''6''.''''''0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6523038" y="3941763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46EAC09-68EA-4A70-B122-EC17200FB7CB}" type="datetime'''''''''''''''''15''''''''''''''''''''.''''''''''''0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gray">
          <a:xfrm>
            <a:off x="6904038" y="2636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88E7F7C-C729-4A2E-BD95-36AC47D22970}" type="datetime'''''''''''1''''''''''6''''''.''''''''''''0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594537"/>
              </p:ext>
            </p:extLst>
          </p:nvPr>
        </p:nvGraphicFramePr>
        <p:xfrm>
          <a:off x="457201" y="5076825"/>
          <a:ext cx="8878522" cy="905730"/>
        </p:xfrm>
        <a:graphic>
          <a:graphicData uri="http://schemas.openxmlformats.org/drawingml/2006/table">
            <a:tbl>
              <a:tblPr firstRow="1" bandRow="1"/>
              <a:tblGrid>
                <a:gridCol w="4615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5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4260485645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4267549487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20869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. PR69 SP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19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1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2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3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4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5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6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7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8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9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30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-2025 </a:t>
                      </a:r>
                      <a:r>
                        <a:rPr lang="en-US" sz="1000" b="0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∑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.0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2.0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208915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V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.0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C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.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3" name="Group 82"/>
          <p:cNvGrpSpPr/>
          <p:nvPr/>
        </p:nvGrpSpPr>
        <p:grpSpPr>
          <a:xfrm>
            <a:off x="1336398" y="2166373"/>
            <a:ext cx="1047924" cy="443269"/>
            <a:chOff x="1207715" y="2012752"/>
            <a:chExt cx="1047924" cy="443269"/>
          </a:xfrm>
        </p:grpSpPr>
        <p:sp>
          <p:nvSpPr>
            <p:cNvPr id="84" name="Rectangle 83"/>
            <p:cNvSpPr/>
            <p:nvPr/>
          </p:nvSpPr>
          <p:spPr bwMode="auto">
            <a:xfrm>
              <a:off x="1207715" y="2093913"/>
              <a:ext cx="123825" cy="813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674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3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5" name="Rectangle 84"/>
            <p:cNvSpPr/>
            <p:nvPr/>
          </p:nvSpPr>
          <p:spPr bwMode="auto">
            <a:xfrm>
              <a:off x="1207715" y="2292350"/>
              <a:ext cx="123825" cy="81384"/>
            </a:xfrm>
            <a:prstGeom prst="rect">
              <a:avLst/>
            </a:prstGeom>
            <a:solidFill>
              <a:srgbClr val="C6DFE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674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3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6" name="Rectangle 85"/>
            <p:cNvSpPr/>
            <p:nvPr/>
          </p:nvSpPr>
          <p:spPr bwMode="auto">
            <a:xfrm>
              <a:off x="1390278" y="2292350"/>
              <a:ext cx="123825" cy="8138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674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3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1507653" y="2012752"/>
              <a:ext cx="747986" cy="254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VWAG TheSans" panose="020B0502050302020203" pitchFamily="34" charset="0"/>
                  <a:cs typeface="Arial" panose="020B0604020202020204" pitchFamily="34" charset="0"/>
                </a:rPr>
                <a:t>PR 69 SP </a:t>
              </a:r>
              <a:endParaRPr lang="en-US" sz="1000" dirty="0">
                <a:latin typeface="VWAG TheSans" panose="020B0502050302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1507653" y="2201664"/>
              <a:ext cx="743768" cy="254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VWAG TheSans" panose="020B0502050302020203" pitchFamily="34" charset="0"/>
                  <a:cs typeface="Arial" panose="020B0604020202020204" pitchFamily="34" charset="0"/>
                </a:rPr>
                <a:t>PR </a:t>
              </a:r>
              <a:r>
                <a:rPr lang="en-US" sz="1000" dirty="0" smtClean="0">
                  <a:latin typeface="VWAG TheSans" panose="020B0502050302020203" pitchFamily="34" charset="0"/>
                  <a:cs typeface="Arial" panose="020B0604020202020204" pitchFamily="34" charset="0"/>
                </a:rPr>
                <a:t>69 OP</a:t>
              </a:r>
              <a:endParaRPr lang="en-US" sz="1000" dirty="0">
                <a:latin typeface="VWAG TheSans" panose="020B0502050302020203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3" name="TextBox 92"/>
          <p:cNvSpPr txBox="1"/>
          <p:nvPr/>
        </p:nvSpPr>
        <p:spPr>
          <a:xfrm>
            <a:off x="568405" y="2220354"/>
            <a:ext cx="715384" cy="338554"/>
          </a:xfrm>
          <a:prstGeom prst="rect">
            <a:avLst/>
          </a:prstGeom>
          <a:solidFill>
            <a:schemeClr val="bg1"/>
          </a:solidFill>
        </p:spPr>
        <p:txBody>
          <a:bodyPr wrap="none" rIns="36000" rtlCol="0">
            <a:spAutoFit/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VWAG TheSans" panose="020B0502050302020203" pitchFamily="34" charset="0"/>
                <a:cs typeface="Arial" panose="020B0604020202020204" pitchFamily="34" charset="0"/>
              </a:rPr>
              <a:t>Mio. units</a:t>
            </a:r>
            <a:r>
              <a:rPr lang="en-US" sz="1000" dirty="0">
                <a:solidFill>
                  <a:srgbClr val="000000"/>
                </a:solidFill>
                <a:latin typeface="VWAG TheSans" panose="020B0502050302020203" pitchFamily="34" charset="0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VWAG TheSans" panose="020B0502050302020203" pitchFamily="34" charset="0"/>
                <a:cs typeface="Arial" panose="020B0604020202020204" pitchFamily="34" charset="0"/>
              </a:rPr>
              <a:t>(% share)</a:t>
            </a:r>
          </a:p>
        </p:txBody>
      </p:sp>
      <p:sp>
        <p:nvSpPr>
          <p:cNvPr id="91" name="Up Arrow 90"/>
          <p:cNvSpPr/>
          <p:nvPr/>
        </p:nvSpPr>
        <p:spPr bwMode="auto">
          <a:xfrm flipV="1">
            <a:off x="1009319" y="5622172"/>
            <a:ext cx="129331" cy="125454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77" name="Up Arrow 176"/>
          <p:cNvSpPr/>
          <p:nvPr/>
        </p:nvSpPr>
        <p:spPr bwMode="auto">
          <a:xfrm flipV="1">
            <a:off x="1009319" y="5429790"/>
            <a:ext cx="129331" cy="125454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38938" y="6207125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</a:t>
            </a:r>
            <a:r>
              <a:rPr lang="fr-FR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69 OP and PR69 SP</a:t>
            </a:r>
            <a:endParaRPr lang="fr-FR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  <p:sp>
        <p:nvSpPr>
          <p:cNvPr id="118" name="Down Arrow 117"/>
          <p:cNvSpPr/>
          <p:nvPr/>
        </p:nvSpPr>
        <p:spPr bwMode="auto">
          <a:xfrm flipV="1">
            <a:off x="1009319" y="5818146"/>
            <a:ext cx="128588" cy="125454"/>
          </a:xfrm>
          <a:prstGeom prst="downArrow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2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94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421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4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olkswagen Group China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VW Brand Passenger Car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33" name="Rectangle 4"/>
          <p:cNvSpPr>
            <a:spLocks noChangeArrowheads="1"/>
          </p:cNvSpPr>
          <p:nvPr/>
        </p:nvSpPr>
        <p:spPr bwMode="auto">
          <a:xfrm>
            <a:off x="411132" y="4126056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5</a:t>
            </a:r>
          </a:p>
        </p:txBody>
      </p: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411132" y="4717894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6</a:t>
            </a: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auto">
          <a:xfrm>
            <a:off x="411132" y="530973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7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Jetta Brand 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1012175" y="4126056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 </a:t>
            </a:r>
            <a:r>
              <a:rPr lang="en-US" altLang="zh-CN" sz="1800" b="1" dirty="0" err="1">
                <a:solidFill>
                  <a:srgbClr val="FFFFFF"/>
                </a:solidFill>
                <a:latin typeface="VWAG TheSans"/>
                <a:sym typeface="VWAG TheSans"/>
              </a:rPr>
              <a:t>Cupra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 Brand 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1012175" y="4717894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Audi Brand</a:t>
            </a: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1012175" y="530973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Skoda Brand</a:t>
            </a:r>
          </a:p>
        </p:txBody>
      </p:sp>
    </p:spTree>
    <p:extLst>
      <p:ext uri="{BB962C8B-B14F-4D97-AF65-F5344CB8AC3E}">
        <p14:creationId xmlns:p14="http://schemas.microsoft.com/office/powerpoint/2010/main" val="153379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1&quot;&gt;&lt;elem m_fUsage=&quot;9.54971742368601006490E+00&quot;&gt;&lt;m_msothmcolidx val=&quot;0&quot;/&gt;&lt;m_rgb r=&quot;79&quot; g=&quot;BD&quot; b=&quot;8F&quot;/&gt;&lt;m_nBrightness endver=&quot;26206&quot; val=&quot;0&quot;/&gt;&lt;/elem&gt;&lt;elem m_fUsage=&quot;3.09097677619172672703E-01&quot;&gt;&lt;m_msothmcolidx val=&quot;0&quot;/&gt;&lt;m_rgb r=&quot;C0&quot; g=&quot;D9&quot; b=&quot;E4&quot;/&gt;&lt;m_nBrightness endver=&quot;26206&quot; val=&quot;0&quot;/&gt;&lt;/elem&gt;&lt;elem m_fUsage=&quot;5.44037274050662225666E-02&quot;&gt;&lt;m_msothmcolidx val=&quot;0&quot;/&gt;&lt;m_rgb r=&quot;C8&quot; g=&quot;2D&quot; b=&quot;20&quot;/&gt;&lt;m_nBrightness endver=&quot;26206&quot; val=&quot;0&quot;/&gt;&lt;/elem&gt;&lt;elem m_fUsage=&quot;4.14674445530930427251E-02&quot;&gt;&lt;m_msothmcolidx val=&quot;0&quot;/&gt;&lt;m_rgb r=&quot;80&quot; g=&quot;B0&quot; b=&quot;C8&quot;/&gt;&lt;m_nBrightness endver=&quot;26206&quot; val=&quot;0&quot;/&gt;&lt;/elem&gt;&lt;elem m_fUsage=&quot;1.99180464447964063190E-02&quot;&gt;&lt;m_msothmcolidx val=&quot;0&quot;/&gt;&lt;m_rgb r=&quot;A8&quot; g=&quot;AD&quot; b=&quot;B3&quot;/&gt;&lt;m_nBrightness endver=&quot;26206&quot; val=&quot;0&quot;/&gt;&lt;/elem&gt;&lt;elem m_fUsage=&quot;9.29104549978187164994E-03&quot;&gt;&lt;m_msothmcolidx val=&quot;0&quot;/&gt;&lt;m_rgb r=&quot;00&quot; g=&quot;80&quot; b=&quot;00&quot;/&gt;&lt;m_nBrightness endver=&quot;26206&quot; val=&quot;0&quot;/&gt;&lt;/elem&gt;&lt;elem m_fUsage=&quot;7.85517162576560359910E-03&quot;&gt;&lt;m_msothmcolidx val=&quot;0&quot;/&gt;&lt;m_rgb r=&quot;FD&quot; g=&quot;B5&quot; b=&quot;6C&quot;/&gt;&lt;m_nBrightness endver=&quot;26206&quot; val=&quot;0&quot;/&gt;&lt;/elem&gt;&lt;elem m_fUsage=&quot;5.72644682465405386457E-03&quot;&gt;&lt;m_msothmcolidx val=&quot;0&quot;/&gt;&lt;m_rgb r=&quot;00&quot; g=&quot;46&quot; b=&quot;66&quot;/&gt;&lt;m_nBrightness endver=&quot;26206&quot; val=&quot;0&quot;/&gt;&lt;/elem&gt;&lt;elem m_fUsage=&quot;2.48825975328809340451E-03&quot;&gt;&lt;m_msothmcolidx val=&quot;0&quot;/&gt;&lt;m_rgb r=&quot;00&quot; g=&quot;63&quot; b=&quot;84&quot;/&gt;&lt;m_nBrightness endver=&quot;26206&quot; val=&quot;0&quot;/&gt;&lt;/elem&gt;&lt;elem m_fUsage=&quot;3.47512551050078915345E-05&quot;&gt;&lt;m_msothmcolidx val=&quot;0&quot;/&gt;&lt;m_rgb r=&quot;D4&quot; g=&quot;D6&quot; b=&quot;D9&quot;/&gt;&lt;m_nBrightness endver=&quot;26206&quot; val=&quot;0&quot;/&gt;&lt;/elem&gt;&lt;elem m_fUsage=&quot;4.94838882730751146191E-09&quot;&gt;&lt;m_msothmcolidx val=&quot;0&quot;/&gt;&lt;m_rgb r=&quot;E3&quot; g=&quot;EF&quot; b=&quot;F8&quot;/&gt;&lt;m_nBrightness endver=&quot;26206&quot; val=&quot;0&quot;/&gt;&lt;/elem&gt;&lt;elem m_fUsage=&quot;3.12801560042886229650E-10&quot;&gt;&lt;m_msothmcolidx val=&quot;0&quot;/&gt;&lt;m_rgb r=&quot;00&quot; g=&quot;33&quot; b=&quot;66&quot;/&gt;&lt;m_nBrightness endver=&quot;26206&quot; val=&quot;0&quot;/&gt;&lt;/elem&gt;&lt;elem m_fUsage=&quot;2.69165677625262967139E-11&quot;&gt;&lt;m_msothmcolidx val=&quot;0&quot;/&gt;&lt;m_rgb r=&quot;0E&quot; g=&quot;60&quot; b=&quot;DA&quot;/&gt;&lt;m_nBrightness endver=&quot;26206&quot; val=&quot;0&quot;/&gt;&lt;/elem&gt;&lt;elem m_fUsage=&quot;2.42249109862736673657E-11&quot;&gt;&lt;m_msothmcolidx val=&quot;0&quot;/&gt;&lt;m_rgb r=&quot;10&quot; g=&quot;5B&quot; b=&quot;D8&quot;/&gt;&lt;m_nBrightness endver=&quot;26206&quot; val=&quot;0&quot;/&gt;&lt;/elem&gt;&lt;elem m_fUsage=&quot;1.58939640980941566884E-11&quot;&gt;&lt;m_msothmcolidx val=&quot;0&quot;/&gt;&lt;m_rgb r=&quot;E1&quot; g=&quot;FF&quot; b=&quot;E1&quot;/&gt;&lt;m_nBrightness endver=&quot;26206&quot; val=&quot;0&quot;/&gt;&lt;/elem&gt;&lt;elem m_fUsage=&quot;5.03574987226635321481E-12&quot;&gt;&lt;m_msothmcolidx val=&quot;0&quot;/&gt;&lt;m_rgb r=&quot;C6&quot; g=&quot;DF&quot; b=&quot;E7&quot;/&gt;&lt;m_nBrightness endver=&quot;26206&quot; val=&quot;0&quot;/&gt;&lt;/elem&gt;&lt;elem m_fUsage=&quot;8.96293811592221547337E-15&quot;&gt;&lt;m_msothmcolidx val=&quot;0&quot;/&gt;&lt;m_rgb r=&quot;99&quot; g=&quot;C8&quot; b=&quot;37&quot;/&gt;&lt;m_nBrightness endver=&quot;26206&quot; val=&quot;0&quot;/&gt;&lt;/elem&gt;&lt;elem m_fUsage=&quot;8.67410664661368480361E-24&quot;&gt;&lt;m_msothmcolidx val=&quot;0&quot;/&gt;&lt;m_rgb r=&quot;A3&quot; g=&quot;CA&quot; b=&quot;E7&quot;/&gt;&lt;m_nBrightness endver=&quot;26206&quot; val=&quot;0&quot;/&gt;&lt;/elem&gt;&lt;elem m_fUsage=&quot;1.60732947364291047119E-24&quot;&gt;&lt;m_msothmcolidx val=&quot;0&quot;/&gt;&lt;m_rgb r=&quot;C2&quot; g=&quot;CC&quot; b=&quot;A6&quot;/&gt;&lt;m_nBrightness endver=&quot;26206&quot; val=&quot;0&quot;/&gt;&lt;/elem&gt;&lt;elem m_fUsage=&quot;1.44659652627861946081E-24&quot;&gt;&lt;m_msothmcolidx val=&quot;0&quot;/&gt;&lt;m_rgb r=&quot;95&quot; g=&quot;A8&quot; b=&quot;44&quot;/&gt;&lt;m_nBrightness endver=&quot;26206&quot; val=&quot;0&quot;/&gt;&lt;/elem&gt;&lt;elem m_fUsage=&quot;1.17174318628568183856E-24&quot;&gt;&lt;m_msothmcolidx val=&quot;0&quot;/&gt;&lt;m_rgb r=&quot;5F&quot; g=&quot;19&quot; b=&quot;39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s0UXrRouKKAJ66Lbz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ul0Sz_QVeqTscJbGPR4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jFWbtNTQyMr4mxXfaNi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ZxQB.0R3.IqAW.WKeSE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n4zsgF9u01wB9brheiS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SXm01eMoJAWgVnWeGt7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5cM4tJaeOYEcYsLJiL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MrPk3AT5ybYjFAHMj9yA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G6LW0GSuOhmaZTJl_3D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aXquxNS8KQc.EWkjbf9Q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KJZqR6QaqXUzfXArODOA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pS4qJcQAqDlT4Tq2DDk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.ZL36j1ciBa0JpnmY0tg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wz19XQISOEijS6mELTp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WusraktIl7EPlKVDWgGQ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nkcBM1SoKkRpnc4KtQP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dtcisoR.26UW3wcnq6E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YEi_xwpDwmy2sCYhxAFQ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Uk6JYAVoc1Yp1PPjgWX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ksV8WLpmPeOYKtVwGu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NhTKLBNOOmF34K2RNy7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HrK39sQ_S1t_1r9euUG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Y.NsTYR3wOuicR3nhdp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TlAoWWlHDFnuyeeepuvQ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YWsLkR0W_o90T6Wr1_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uX_suiSYC7rhzq6DRVzg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2KGZboFdVO19109WlGdA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n4zsgF9u01wB9brheiS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6x_SXQvuBiKWhPxXvq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Y5mf8f9h7MDCkWovy5z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nI9y1SfG4wfHDnjX6Fw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l1J9VdSG2XWSpIibdIh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DP7rRWRvu80yp3I5AU.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QdRCAJRFeWLPJ5lSu0ZQ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KamDvyKXd13w0kZ6upNg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T_Z2PfG2MhTtqPmxw3_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7g9jSQVF5b9kX69q5MeA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4X1VmaEdkXzpY0._PNHw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_rvonkeNzYvthtcShIVw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bcfhre57Uc0TdrfulVTA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3TdKGoSETtw8l_b43Xr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CtGdmsAEe6g3dcUK0xA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NhTKLBNOOmF34K2RNy7w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GlAJXScetMNvKe.p93w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YWsLkR0W_o90T6Wr1_Q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Y.NsTYR3wOuicR3nhdp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TlAoWWlHDFnuyeeepuvQ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zXc3FgT8KDlDZS68fxy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U8Q63Sd6b4pvuPy07DQ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FQ3XrdGqt9OARc7.Gb2w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niGzlrjybCDJHvpHeTfw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hr9l20o3IUt_s7mtJEI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vessROS2a9J9rQazXF4Q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x2_N4WQD2NcwDp63sE7Q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7e6B3R5eJayytaLrIhA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u81YkERMCvh7CJ_5fmjA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a.cjT4T_eDzqYQDg9AY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BDM0CmQm..pXlL3TnEYQ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CJLMsRXuS0j6lWJLvf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LwdkYiRPKNSYhqXoUyB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JcO.fHQMe.YIo.34nFdg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8zJVNnRBiqb5iW5kbpvA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BtJjpQtWA_D6FSv2Dvg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WS7dgTaeBq5IpNZl_pw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0CrdZRsChfwE_A1exKw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wUqoOR9ekG1BGWaFm.w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__LDJkwFJKqlTn.NpJQ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OUV0fQlCvGu.a9iyc.Q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RJ2pfTGG1DaQojvgHfA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1bto6Te68iqaFXpQ29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bkyhL7To.htqL6JdLaI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OVVCq0yx32ZdtqEVGYlA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TWsHgR7WLqUcvWZ8zAg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2xM5vQq.Fqz.I1TqAc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pyfaWRQ1GAn4AGpPkcp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qxM_dTAORtc1wkJXWsw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L0WjiTfeOwP0vbazzYw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QyIHcT0elJ8Ygc8V9VQ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oYHqESAutQ_4fcpQgPQ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PBl2OTJy.Bm0yQ.eDV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S1GD99Sump_c2ePRbXng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4yfiRCiN9p6xuyrDkw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VPF0UBRi70dFLRcdfnGQ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RsaGNb77gdHR.yyInHWw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kY9oWKz70JaNxmSdpno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Jv0VOv8c7YEfPjJRgeew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VzUUHRmK_McHqJ8CKW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AT8EySLiLOmU5cZ56xQ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ukmo4S0.aw5rpBqSI.Q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9.BV1rQxqO9xc0uwMI1w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AancaQDSvnALBd0KTAw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IEJahQp.x3iq.mBBI2A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D5OBdQiuKAiqe1tgfRQ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RZqUWRUG6.XvKiTYblw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yqITfQiiZxI42kfR2j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rzalkIR1ioe8eD_2UAfw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SRqv_vTNmS9mX9HarQd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ZYfSWTRiq7KGKQJ24Qow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uDaTQZReK8idIqrosKmg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6Oa2EtSFWE_T99v1_rFA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AzEgOqQ1iltL92dgNXlg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6OupkCS3Svj6K0fDNj5w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CcwVvezNcb4hiv27OlMQ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hn6NUuBs_L6aA6g2zdRA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PUaSQLenPhykVe30DM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PVWVvSOaXYBrHHO55UQ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fpw.qQNHQu63W1oubIZA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MrAvTglVIKVzDtjdlkRw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yZOTPg6BDWXX.dR_dk1Q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PBfFnC1lP6Ryi4QxmQNQ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cNfhJs8WIa3UUvfJ6Thw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qBEMMUv6ysLepNGJNu4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t6.3uRLi76YN.boVatQ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02DP0SXFG4TmNAxBYKIg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CMHpyV1F559cNGZrVbIg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XqgQ.6bIeS3kI22V8PzA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oWGl6xRj.SKRwLTcl2Aw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2XV7cpDBrEnmQDlHgOlw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xrFGg76rDf10moxA8Zw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Hl1C1VQu2sRkcGKojpHA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K.iJekmhb2xCf0kyryRQ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_z3Ud10mWEZi.sg1STJw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e5q3oOx4p73Iy0pdfpKw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Syab3LLOT.F6e108RF2w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zCnP8iBGv7fMNT4b6eww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KM3zkfsWHaHJIc_C2sUQ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SCh7iWzNiCTbJSfvGHMw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8WqFWWG3e5kd8_Xh0zUA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7PkFxeQpKKojY6WK1PeA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eW5qOsbFGLJxhkSi0KAg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f4vyu9KqoLh8Mcd9vhlA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w6FhgAPFZe9E7r3wxTjg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mcIjfSRNGLRui.o4lneg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I7adb4mh2orZr90Z8EPQ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uVDexlSQOlCJXMXGbpRg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S3O.EIxXHxkoAhccQLqg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DO1SWDQ_6x3GPYwcSbZw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.J6rYaTOGrYwqwx61DwA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E38CHdTzaIB.IgtSbMSw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3jtGKWRMm5quWHTddGDw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yFIjOlUCH15Xdah8XRiA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XpCMz5TH392xlrNqIyzA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_MAEj193AnqbKV8WCepQ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pyfaWRQ1GAn4AGpPkc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pv48NQm2CyDICDcCSBA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wUqoOR9ekG1BGWaFm.w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bkyhL7To.htqL6JdLaIg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RJ2pfTGG1DaQojvgHf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tRRv6iSr6AgOcLR4l8BA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CJLMsRXuS0j6lWJLvfQ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TWsHgR7WLqUcvWZ8zAg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2xM5vQq.Fqz.I1TqA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7YdcMrTYiwOy3A8_mOsg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qxM_dTAORtc1wkJXWsw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WS7dgTaeBq5IpNZl_pw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QyIHcT0elJ8Ygc8V9VQ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xPpYTQzSVqalJkttV8g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4yfiRCiN9p6xuyrDkw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1bto6Te68iqaFXpQ29Q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oYHqESAutQ_4fcpQgPQ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u81YkERMCvh7CJ_5fmjA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PBl2OTJy.Bm0yQ.eDVw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BtJjpQtWA_D6FSv2Dvg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fXeLE6RbyvIGWB0PNFzQ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kFOjJ9R2CdJJy.KBcP5Q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yj7dBtUoUj_i4SzrX.ng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dJapVuQJEE5wmXoAFkDQ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RZqUWRUG6.XvKiTYbl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6ql3eZQYaQaLdlkv7hzA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ukmo4S0.aw5rpBqSI.Q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AancaQDSvnALBd0KTAw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D5OBdQiuKAiqe1tgfRQ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IEJahQp.x3iq.mBBI2A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AT8EySLiLOmU5cZ56xQ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AzEgOqQ1iltL92dgNXlg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yqITfQiiZxI42kfR2jA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SRqv_vTNmS9mX9HarQd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hZbHzZTPGCz0s9X.UfIQ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VzUUHRmK_McHqJ8CKWQ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ZYfSWTRiq7KGKQJ24Qow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uDaTQZReK8idIqrosKmg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VtXxNSYaHcqCCpBSWHA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4gGUUuq3ouSuC.nAPolQ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I_HbbzeKyMAkrhQsH3xw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kH5KpQKJ48fJipwDET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oq4XfPQouUzf664rqXmw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rfUteOrs2hyX6iE7I8yA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C3uAQepBvp.vI492gUBg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8DQckgn1kWULbYM7wbw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29PcwXNiw2EH_f3PRxTA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2xS.TROpfZjaK2uoZVNQ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rS2hSuRh6A9Oe0qb.XnA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FeGkNamM0h3hjI.bwg5Q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J73WRJkFnX08LMrgmoQ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MakjeaqhgZxpaAFpwJPQ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QtnPi7jTUBoW3yhUpObw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x0ygZdQ5aKkFZKI7QmMg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li7fouAbKII0o9WN_mlA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xrFGg76rDf10moxA8Zw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kZ3QGLQ1aODsIcN_iZzw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K.iJekmhb2xCf0kyryRQ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dj81gEtsoAo.EKHlUgOQ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gY_ODIaXVA8QuGFD08IA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WTuYVsQxZ0sXqZ5x9zIQ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IJxFkl_UmTePk_lk.6ug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xH7T65Pii76gxHu0hRuQ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j6cn17bFjqzEf_7OdRZg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iZ7_g6tFSshoVVT8eJPA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_zNO3WR2WUNlVQ0022BA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eW5qOsbFGLJxhkSi0KAg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w6FhgAPFZe9E7r3wxTjg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f4vyu9KqoLh8Mcd9vhlA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c22sklTeiR7zG32u4v1g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FoQNMJQ7K.18_XK1Bj6Q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uVDexlSQOlCJXMXGbpRg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83NtamWo9hioTWud9fBw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sF98YES96YiZzMKuYXXw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c_Dbe.TlSyndVV_vez_A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6f3LSsR02NO1icggtxLA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WA.03aRladFvdsllTW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oy0SwQ0esYiNPknH3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GSYeTT.evca1g8DSM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RLkJfcQ2GYWUqLHJdJq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tayx4lR8S2TezjCV8t9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XrKZZRRKvlZhZEUrlQ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S2OsSSRBCLhPS8JUA0e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2WyJy2TjyEb_pk9MUt1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cIXjspTEWyprbwOrM5h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imCrJ.Q0ex52bbUrBcO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J.O4geR7uxgzFE_AG8L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kVsnPUS_m.NYkEUPo6V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eAotOnQoenCMJDfMXi0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ojLQnBHnv8FGcwPw6.J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h8CwArTpiSnLklI0TeJ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y6aNoCTO.cn_5rL8_A0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ay7HbKQQSfzXb9hHiNh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xO.iI_2yQx7K6LH2uzQ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h7XVczcODw1zpGc3EH_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i3cvoUr2CKCjmIoKtmJ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MjygtZS9WPfes7zKQtQ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M8oNa6au80ahu4IaBc8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jkV9xAzKXdyL9Mw4puM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WiKPaLR0S4rplX8N9v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yVMEWFl6A6Xtvz1MXO1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wRqx0kHPo.oDiB.lLw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_ivoWhiByhTUEtk3CJ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oFIdlxJwAj6T6Igloa_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e62LUvGRSS0_oCXYYW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d1s76URrO5cWEIqw8Yc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YKA8Yv2DlBFj5TkAS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L5XGCzsK2wDgD5Qw5Fb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BzqnRuNDEJBMrT4sgFk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gIJGMxD.jH9G9GZlcsr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3z7n2RTCuDj_rBKi.J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rA1.hLicWuewkcFi9Tg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WPFOyJQKGZQ4uIG5QFZ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oDyChqLTilnD0MGuFwc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M8RRYsSJeGZkZpeEsfb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kGUySeQbO5Tchm3kyaB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0V9lJ8R1yk4rQDRnb8_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vyOkvOTLCz.akvmLHJJ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YoO4cfR4aQmvjSwfVxH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OZSOZokC5Qxd365r72v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4k2CoJQW.NjT4aNQA_0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4n1RsHKye0MKi4UBca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VWfG9eKVxBPd9mAtrHE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NvmIMhfO_4p_nBnwI9.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jviCfZVnCwyYei9DfYu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jG22P3bJZ2Oi5L08g8S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2oc.cjgEu97_v.8wCOC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sBYJmwDgIjl8BkKsXM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nLFiS5QqCN1MNIzb4_6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J8XQRyqEfSJK3rIr0EZ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_IMny2T5FUmeAcYcVm5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hkWGtMNOupkTx4Lsmb7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i0_CG9uR1D2.OvcDat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V6cYwuQDKIkm7AxEZUJ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0gNYWGTJeAIH4sC_B4v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YPldySliweZkraMJb6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uFA_acXD9epP9keOna9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0rdV0aQn.odGSzlmAfz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W_TYNIa.0mczIgszdUP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jgLN7Afe8WWc89nBeti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lYECR1ku8T5JlxKA6f9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_z_OU0ThuqFkrtC7YWH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GBw2281BfhRf2KMWtQ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G_3C3ByhI7U0yZzK8q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UOInYXQjqT4Lg_C5RdZ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_XQKrQHo.aetFyzAL.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WppdrPC1WukS1v6eQc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iwjOxkfOcD7XcrTRhn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A.a3EOQs2QgNYWlg5.w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p6yNCsQPyuak9a0ng2L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Nf.W1yR7W9keGOQu5v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wZhKOu4FwiZgQTWEzCt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iCfVQE6OskWksWcOo5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jP.wmExUoX0Ulcv4Ewv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9Kyl1P0ZP9p7x0ZwUg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POokFRS_WZrV34QNgUC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czoAP7R3CVSNTTvjZ7C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sZsMkprRf1K1cDGs6XA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Rd1Bz5gqxdxCh.ilev.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QefJ3cf4PWqodV9Lxnx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H4RmIO3g0kpJS4Ru4jH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tOk6u4UsPImXyloJeQ_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XGnD11RdquEgAv4O4Rm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kaYUq6SWOqsQslZs3to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GLyVgaaGLGNLJx2135m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Yco36sJDslFYYpuriN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SAJA5xSWORjxjDScYwm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1d25AMzq0kNUo3ovrC7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yEHGCZsw8zfr6VVNhxC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H9SlJGbXtRVItsajIjC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790pgCx7D0luOvZCuZm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OumsJ6QLT54Tz6RRKwn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mh9IfsQWChejJfCNTyT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XKxa0LyYZm2DpLmrKkv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_1N6g_eCxwoAFnihbU.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jJoUQ4fw20LLlHjp.6Y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ENmnIaTKmKDjZwVLPQ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lSVAusS9Wq9fUm4suqs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fxZkakVRg7e0FStH2nW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U1cXNlTnCnOkPJcsJ33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JBTybwTdqdaFg_HAp17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55FzKtT2SJBtLSvy7J0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4RzY2TNSfd4Nr2GDlc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B4OSFsQMFPAxSO6TLcy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cREN5366cS8SuKooecs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OBgliIdpqylWpFqzZ.I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KhKLwETpW36HHa6HN9y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q322s0BZ7DyFegeCzs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TzvHKaSreWB5rdXCOJJ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RPHhmRJMiAawfSx6xBs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AfnwYY3.wBcGWK4_Py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Duf8IadelhFNPDSqYT2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_i1N4qT7GxSXRaMRiBC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llSGhvSy6QIh_Tj3vuw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gH_H1R56zbZByAbAuq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9cvmfkQ8CTEVvj.hmSW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1VpFQXTymwLKDPTezCr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ejvwiQ3m22_Su0D9ft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Mdmb3xT7G8U6RZzhB6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vIbxYlTAOvY.JqIP0y1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A_MaqQQC.qxJjdDAR3U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_sOrMsRHuxa.Fhzout5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DMyja4RMCoX20DiwIRf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MdsSQHS8mxdUuM3umr4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6_.9htS4uTaQZlzdDIu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x984.bKjt7ZpA4SVGN4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GSYeTT.evca1g8DSM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ojLQnBHnv8FGcwPw6.J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yVMEWFl6A6Xtvz1MXO1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OVQu63RdC2.PRSs_auB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rA1.hLicWuewkcFi9Tg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VWfG9eKVxBPd9mAtrHE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V6cYwuQDKIkm7AxEZUJ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UOInYXQjqT4Lg_C5RdZ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POokFRS_WZrV34QNgUC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SAJA5xSWORjxjDScYwm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lSVAusS9Wq9fUm4suqs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TzvHKaSreWB5rdXCOJJ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vIbxYlTAOvY.JqIP0y1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OVQu63RdC2.PRSs_au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DlE8IzTGaVD2f3jOcti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DlE8IzTGaVD2f3jOcti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vGVZkNSGy68Pyv80hnn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4MwKmSQEyy9y32n9Xgt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x16sBTAaj9QAVA.8zq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2GoK3HS6OVID9Nmj4Md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LqIarUQ8SAs1eyr1DVJ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auMxweQU2t0FcPm2BES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_FUm6UTRKR88xMPI79k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W1LGi_Sd2NZjVc4hGyO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mQssbgQYeBnxVXsvtf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lh1JWISbKSHIrZxJwp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vGVZkNSGy68Pyv80hnn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bc8wxYR1yAnYEI3Y5FZ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EEuVwJRgS.t9AE3z4Lo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E5R0gRSLmv6xUNhLEWJ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sGcQLsQ6WhqPZAreD5B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PZ.hyQ_iDwAasVtqZm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g3H4HlQNmC4MXIdl0Cw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NMXeLTC2YeFngbK0k5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9lkGOvR.WE6FSXusVku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zoHhxISJiX_x9tvkhzm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FcmVtQS80c3ohyXyGE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4MwKmSQEyy9y32n9Xgt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RZKnGfSX.WKubfA8Oxq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LmBsLhRY66x3Ggs0Fx3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V.NvyeRAGLJLGVa5LKH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vS8UoxRi2X_ioalpcs.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Y6OZUQrmAJDAOo1KIM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RCIRDS0aydq8oYnm27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BhuMBjRa.jaP9M.9Z7m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GgiGopRrWEIDRCm5C2c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NBf_uXS0ur.L1EL_DcT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oNLb_aRmmV4CkUd4zKS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x16sBTAaj9QAVA.8zq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cZM9AMSyKuQ1Fb1CcED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rsxMlvTSyJ_LCtSpFaG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fvCoAxQ9ir82xnuqIBF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d.B5ERW2MYIKUvfBoc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imwinYR8WlpTaUeOK1d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LBkWESgi.WUE8D3GsE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Cx79VNQzebB91VuejE0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TuBFZjRAugrXne8RJai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KnOjd2QeaRrpr74_atc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eLSQKTk.JcTr0aCoH9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2GoK3HS6OVID9Nmj4Md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qHtG9QSq.z_TW87U3wL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zA7caBOwfKslQNz51Zr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h2TyQiQfeGty2n7pQvk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3Tr_OTTNCX70BMocBmX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qduvA8SF.wvD7_zzLsP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CSglcWv0dO0ITzQ3lkn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6NsrYjTXGBthQpHdTaz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HP4XIE34NLVVdLF2giS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tHvgeDQ5OxTcUNe6ruT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3G70NUTYKyi_2s.o7y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LqIarUQ8SAs1eyr1DVJ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6rCIydTQGBcvY3ZLZWN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GXPBuWQ2eDqB8HLNoI5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JKxTZCRaWHo9Hsw3P_N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GrLnLWSQWBywAZXr0IT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iZHB.CS5OeEfWuD9yXN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Jnymy9TlW0qeRKsCikD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U06xO_Q3.FPKpwF1EOf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s1slAsoWdzbxBgehK3E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3Ezlz8G3sxCvW2TK_f6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yR3yYqQUaHQ4HsrGH0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auMxweQU2t0FcPm2BES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uEIPO.TV.c0NrhVG4IM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hUr_DQRoucHjYip31W2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_YH9kVQ6ybWeFYL9ToG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zqmI8JA57eB_Rk2JGBv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_FUm6UTRKR88xMPI79k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6x_SXQvuBiKWhPxXvq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jJk973cQp0PVz_DA4S.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LwdkYiRPKNSYhqXoUyB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QyIHcT0elJ8Ygc8V9V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2xM5vQq.Fqz.I1TqAc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bkyhL7To.htqL6JdLaI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x2_N4WQD2NcwDp63sE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W1LGi_Sd2NZjVc4hGyO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4yfiRCiN9p6xuyrDk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a.cjT4T_eDzqYQDg9AY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pyfaWRQ1GAn4AGpPkcp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7e6B3R5eJayytaLrIh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mQssbgQYeBnxVXsvtfN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0CrdZRsChfwE_A1exK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bc8wxYR1yAnYEI3Y5FZ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BDM0CmQm..pXlL3TnEY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8zJVNnRBiqb5iW5kbpv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OUV0fQlCvGu.a9iyc.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RJ2pfTGG1DaQojvgHf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KgN65PEKJYlUlRZsv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EEuVwJRgS.t9AE3z4Lo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CJLMsRXuS0j6lWJLvf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TWsHgR7WLqUcvWZ8zA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qxM_dTAORtc1wkJXWs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wUqoOR9ekG1BGWaFm.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WS7dgTaeBq5IpNZl_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E5R0gRSLmv6xUNhLEWJ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1bto6Te68iqaFXpQ29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u81YkERMCvh7CJ_5fmj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oYHqESAutQ_4fcpQgP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BtJjpQtWA_D6FSv2Dv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PBl2OTJy.Bm0yQ.eDV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sGcQLsQ6WhqPZAreD5B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PZ.hyQ_iDwAasVtqZm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CStly7TqSEJdyj9JixQ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N1e.yvqt0vRrIh19hsm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6CkDM2wSguwvbHZCsTe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YwdXNpyuaZwEgPhhfu3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MXfEXq_cFIaLYUo9mb6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NjzzityrRB4MvV_DDE5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WtuPeApSvh7q_KjiPdQ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ZGKX_syilOjJspUd0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g3H4HlQNmC4MXIdl0Cw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sOLkOhTqyppDeuDynI_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jAZ2g.TieNl5vevJbtd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vP0GJ8SrlL2kO0cSuJW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WKsw0FZrI680G34_E0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XE4TFJmHIZjNaWigaF2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dHI_k3TYQSWG.THW68_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9WMtcm_jRdZXG8xAd8j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DaqkJR1WmoYaMmMKvV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KuDzfg7ibPTwGYI9zen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IgripZtUwlk4MjaT9N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NMXeLTC2YeFngbK0k5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IuhyC65KAJAZNAXmV3q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2vsW.m9XxZyQ9TT55Ls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K41Nja1522isgnAZXxw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moFVCISe8QDU1RN7QpO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AktEYzpat5mLe5YIxLv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qIGS7rFLOwofEDxxlDj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AftQs07x3fuCsrBGK.X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GtQex2AJDOSw_pvWJ5a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S0RTlpiQlYIfYVI_89H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BCkpIW83P5TwQuZFmsa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9lkGOvR.WE6FSXusVku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2KiketLVjY3o7LOS4wj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aCb9R4X1pwmKB4vMBC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EGq4DZPU_8l0OzdOwfa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Ytouwo0yqIutvjmoa_t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BSKd15Qs_gzKcwvgIiN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ELGPdaxTxbDSufT3abj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CN604RhpD0C.V78CdQJ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cqNdbfCTbWSPTNsvnB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Se9mxLRKZMyDLBbBja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IRqa1M_NjJWHz14RcS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zoHhxISJiX_x9tvkhzm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7W80Uvki0kCbzx2ZAno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ApnP8aWVyUWeatVlqQM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fq0NGFXfJX2zAqy1wyI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p8U.ZhzL8t_Oac.yeUK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GVEEFr7v.6mJKqQHY8F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zJ0qnpNVnhG_L_ULBy6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AtIXQ0fq5Fd2vu2Gw7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Ty4q.93fJvm_O0ZE6KO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IG0LwwyzVFvF9VjhNlO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g1S8SRvACTq6.80p1J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FcmVtQS80c3ohyXyGEH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cZ1kpd1PmeSVzj4HcEa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frdku5Oml6kN2kJM6Bd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pS5XLRMW9CLiixCMVuB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8n33AXs61iAgHN.zED9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XPOmsjZBWOBiU8fMjK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VSUeRBsx1Aaqv0j9lLB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JSO7fkNE8a.ZccJBoeC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fq7nvE9TrkQDJm1X.A9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Wi9VZXy.pORENGXjQd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UUYtLYupBVKYBXryoAN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RZKnGfSX.WKubfA8Oxq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xUJ3LdZ2Iwzay7o5rtT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Ht1UFzOgG3ZYkOjPIpx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AhT1vaw7Yc._AoYoO4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gHPBE2eFRdXTOg.4Azg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6x_SXQvuBiKWhPxXvq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1TgaG5yVMAd4PLALld3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x_8q_ubLTVdbea0l6AN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viSOQYnEI1.UlYziBFn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EcOJayPULLuMV8utBZ.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LmBsLhRY66x3Ggs0Fx3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AvspjUFnxKf_bQmmS_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FPIzvIis.qbclId.bRz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WuEbuOv1qRmfPWaegwi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yPV5ENhLc_CzHZzxWk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OHsc7Zr_L6LaBOo4Ptj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9rkBHIReKFHZbuSnSiQ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P91lMgUC7rnIqTf0Job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Xssd9TtpZtvdBkHnRA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6.JHYFIcEZAIPKG9t7Q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3l77443.RNNbob9kac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V.NvyeRAGLJLGVa5LKH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bjdDtuaNbUbHALWjHA.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iTJnxaSxE9jC081RMN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XM1HegoSdylr_OBvb.9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ZwsP8JkhJJEScu5ejE_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zxn0mn0uYZnI.piGeOO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uIlgqfI8mPum2a7QQ1r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HSZ9xFk5A30WjrVjQU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AqZn_3zfaQukAEaOESs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jQk32KH5SsBpM9LOiFX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gIkJxTmTz1OgNnj59s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vS8UoxRi2X_ioalpcs.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DSCrsq7ElbB2m7BGa5Y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iyFd1isbD3oxb57nows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aeFPRvz8dXNLBi5eXVo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72.9IYXcx44pO2d4AhA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yRdgTujUujsJL5hLXEX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0iiT_i.7u5pbqJ91qYt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Y6OZUQrmAJDAOo1KIM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Fpf9LVSHBRyPRzpGMyk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v2NgfzG8fynv9d7cmI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xCjy3zBZHvQCtmEMGQn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j5K_OJ46C2xS.6uFs3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uKVTF751VU6pfxW8NeD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qqquJleO.f9OzE6cNCJ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8jOJZEKz2UqVfzHxL4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RCIRDS0aydq8oYnm27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CQbtmIYu3IWAjQmkin9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gTlrXaGnIED7X5Dtm9T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Pg2sVFSScmrZz6cO15f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NBBov1vPsfwoFOIOcgL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BhuMBjRa.jaP9M.9Z7m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9r4eqsiYEyUFCm3ursM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GgiGopRrWEIDRCm5C2c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1oxo58UzTfiHqmatBJX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CiLRxymj1G0w__Y9Ijw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S7x66.0OAhqYwSCIMZE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c.D4CZwGaIr7amrOIIB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Sip9vYCpZEfzas9kdC3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hz7Ktqj_f0aIP1zkY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NBf_uXS0ur.L1EL_DcT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Ai1eRmpZEt6av8kIh8.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RcZqEUsQxWYtCKQjZS8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DW4FCoNSm_tDcvDhxSY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tSyN5NlCnGiwcTF65Ag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reFxUTgvx_r2M1wHaJ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oNLb_aRmmV4CkUd4zKS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QToxktbzPzyySBhBR6k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UcQ46CJszSaXBmoNdWv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qzk1yE8fDeCZ0ht4SER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nJjX.1X5AqrIcF4U_To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y1WRHKYhTuICwtiazF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cZM9AMSyKuQ1Fb1CcED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a_PQaFfE_3ZNaVaMZ05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4kkT.n12IKRIxKWLB8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9r4eqsiYEyUFCm3urs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rsxMlvTSyJ_LCtSpFaG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t8Mjul_b3NUwf_d7Ag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wBeWAYuw5hc.2yNx7_M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lQSupqpxTQyh3Tb9jRS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5wfaaKtw40IYFGXyoLY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_QedPVqFN8ZXPQSYWY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jW0tMsVxJsS.v21YzL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Tqxxo9gd0MpJ6jAIGyH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m6bej0UXMUhiVkvd_z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HYct_pdJ1hRBbaoStUf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fvCoAxQ9ir82xnuqIBF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XlNluFK.Jm1LvGN0EPG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PMNKhR6O45zvBle5Ni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602BeWx5bJWBT_kovg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7svnlleX7tFCgMFN_m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d.B5ERW2MYIKUvfBoc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reFxUTgvx_r2M1wHaJ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tSyN5NlCnGiwcTF65Ag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RSnj4WRhirYT8Z6Qp.c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imwinYR8WlpTaUeOK1d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U8Q63Sd6b4pvuPy07D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LBkWESgi.WUE8D3GsE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ertv5q0JeqVjmVpYbff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E44X4RIudf8hTDWGqwF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IlXtl72eWKI80dpdz2T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DYA3lQyryB2CJsxC.Ve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OTCQ7OfFbxBGy6Q1BhL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KkhF_pBxoDKgsC1cRls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QvsOiHobkkU2ggvZPT7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Cx79VNQzebB91VuejE0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Y42h8t.DzOnrZh_LFYh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2k3ZusKbKihxMzbCYgV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K9s6AhZjC9f5XzVN.2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.oZfX7azeFYjArR92EN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TuBFZjRAugrXne8RJai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9r4eqsiYEyUFCm3ursM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KnOjd2QeaRrpr74_atc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1oxo58UzTfiHqmatBJX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CiLRxymj1G0w__Y9Ijw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S7x66.0OAhqYwSCIMZE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c.D4CZwGaIr7amrOIIB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Sip9vYCpZEfzas9kdC3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hz7Ktqj_f0aIP1zkYL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Ai1eRmpZEt6av8kIh8.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RcZqEUsQxWYtCKQjZS8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DW4FCoNSm_tDcvDhxS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eLSQKTk.JcTr0aCoH9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tSyN5NlCnGiwcTF65Ag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reFxUTgvx_r2M1wHaJ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QToxktbzPzyySBhBR6k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qHtG9QSq.z_TW87U3wL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UcQ46CJszSaXBmoNdWv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qzk1yE8fDeCZ0ht4SER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nJjX.1X5AqrIcF4U_To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y1WRHKYhTuICwtiazFz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zA7caBOwfKslQNz51Zr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a_PQaFfE_3ZNaVaMZ05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4kkT.n12IKRIxKWLB8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lQSupqpxTQyh3Tb9jRS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9J49IDHxO5ZZb9Js1KP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TzOBYv5qYsxYgJdLv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h2TyQiQfeGty2n7pQvk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NFgc4uXJLenn2RHiJei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9YYtNg4fQ8EQ0THNGrx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OgheFV9SW6GlrrPRV3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Y4soowO.WxumOOpfaFP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zueg.BcxHj4uQ9xVwrD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f_JMvEPgo6MTD8Px.PG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l4Hxs_AmxPtbewiGL.5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3Tr_OTTNCX70BMocBmX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PMNKhR6O45zvBle5Ni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tSyN5NlCnGiwcTF65Ag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NBJGzOp89qWHIWlr5WY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7svnlleX7tFCgMFN_m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qduvA8SF.wvD7_zzLsP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reFxUTgvx_r2M1wHaJ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RSnj4WRhirYT8Z6Qp.c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602BeWx5bJWBT_kovg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JoNMCz7QLYQIt70ofTb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FoQNMJQ7K.18_XK1Bj6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CSglcWv0dO0ITzQ3lkn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6x_SXQvuBiKWhPxXvq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dUpYhCNdiUG_b64GCq4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iuVIQp7cPqhoGA8tyoD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EcOJayPULLuMV8utBZ.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OHsc7Zr_L6LaBOo4Ptj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yPV5ENhLc_CzHZzxWk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WuEbuOv1qRmfPWaegwig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x_8q_ubLTVdbea0l6AN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3l77443.RNNbob9kaca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6NsrYjTXGBthQpHdTaz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P91lMgUC7rnIqTf0Job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9rkBHIReKFHZbuSnSiQ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viSOQYnEI1.UlYziBFn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6.JHYFIcEZAIPKG9t7Q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HSZ9xFk5A30WjrVjQU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bjdDtuaNbUbHALWjHA.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FPIzvIis.qbclId.bRz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iTJnxaSxE9jC081RMN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ZwsP8JkhJJEScu5ejE_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zxn0mn0uYZnI.piGeO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HP4XIE34NLVVdLF2giSQ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XM1HegoSdylr_OBvb.9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uIlgqfI8mPum2a7QQ1r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AqZn_3zfaQukAEaOESs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jQk32KH5SsBpM9LOiFX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Xssd9TtpZtvdBkHnRA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gIkJxTmTz1OgNnj59sq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DSCrsq7ElbB2m7BGa5Y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AvspjUFnxKf_bQmmS_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aeFPRvz8dXNLBi5eXVo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iyFd1isbD3oxb57nows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tHvgeDQ5OxTcUNe6ruT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72.9IYXcx44pO2d4AhA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yRdgTujUujsJL5hLXEX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0iiT_i.7u5pbqJ91qYt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uVDexlSQOlCJXMXGbpRg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Obw8uaUDMTWzYlMRPHd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3G70NUTYKyi_2s.o7y4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6rCIydTQGBcvY3ZLZWN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_rhPIHTj.5dpOCCV13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GXPBuWQ2eDqB8HLNoI5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n4zsgF9u01wB9brheiS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JKxTZCRaWHo9Hsw3P_N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bectqbQt_.e7eETGiPt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EEEquVPufdWfq5HBq80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X1onNMPpBjcE9_nbBUJ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5cx.kL5ddgRlCNVTqgn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cLx.b3wf_MaCuFa25iVg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LwdkYiRPKNSYhqXoUyBQ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GrLnLWSQWBywAZXr0ITw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7e6B3R5eJayytaLrIh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BtJjpQtWA_D6FSv2Dv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oYHqESAutQ_4fcpQgP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BDM0CmQm..pXlL3TnEY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8zJVNnRBiqb5iW5kbpv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iZHB.CS5OeEfWuD9yXN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4yfiRCiN9p6xuyrDk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0CrdZRsChfwE_A1exK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OUV0fQlCvGu.a9iyc.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RJ2pfTGG1DaQojvgH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Jnymy9TlW0qeRKsCikD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bkyhL7To.htqL6JdLaI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pyfaWRQ1GAn4AGpPkcp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CJLMsRXuS0j6lWJLvf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TWsHgR7WLqUcvWZ8zAg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wUqoOR9ekG1BGWaFm.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U06xO_Q3.FPKpwF1EOf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2xM5vQq.Fqz.I1TqAc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qxM_dTAORtc1wkJXWsw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QyIHcT0elJ8Ygc8V9V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WS7dgTaeBq5IpNZl_p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u81YkERMCvh7CJ_5fmj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s1slAsoWdzbxBgehK3Ew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PBl2OTJy.Bm0yQ.eDVw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Tbl61Fb0npK_2PzjCg6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1bto6Te68iqaFXpQ29Q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3Ezlz8G3sxCvW2TK_f6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yR3yYqQUaHQ4HsrGH0i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.rOX6W6GvbHTAGlWLtQ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_9azzySGGLzEHooDveu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zJuKr01.zqFMIWx_FHw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RZqUWRUG6.XvKiTYbl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ukmo4S0.aw5rpBqSI.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AT8EySLiLOmU5cZ56x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AancaQDSvnALBd0KTA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uEIPO.TV.c0NrhVG4IM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IEJahQp.x3iq.mBBI2A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uDaTQZReK8idIqrosKm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D5OBdQiuKAiqe1tgfR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AzEgOqQ1iltL92dgNXl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hUr_DQRoucHjYip31W2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yqITfQiiZxI42kfR2j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SRqv_vTNmS9mX9HarQd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VzUUHRmK_McHqJ8CKW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ZYfSWTRiq7KGKQJ24Qo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elR.FN6kMtXgk0FnRGf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_YH9kVQ6ybWeFYL9ToG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_QNz9QR6ymDWxtyDuS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WbOQ48MgdjB7B4HaJgB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qCPo.gNVPG3G7paTtLs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MIKgthP3DaFcOHwsDPSw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Sq9rtsBiZfVoX0fubNR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3bGDU9_m3OctPtsW9Vl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17tcjNNFF_HytI68yPX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_NQSMSEhjS.V3EPGyva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NhTKLBNOOmF34K2RNy7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Y.NsTYR3wOuicR3nhdp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TlAoWWlHDFnuyeeepuv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YWsLkR0W_o90T6Wr1_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rMMKS6Jis7G1wHx_7WP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dP_kirTA1GriHoTa.8i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lvqy3ISxy6AtIi9Oh92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axpQFJCPGhD0a8AWAWgw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Uqw8WEi1yecBszPGtIJw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M7vD0aG7D9plKGzjcOg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A8Edpgo7olMW7dd9h13Q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S6ifRT6ZW1MYCk3oZRF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WFdcM7AjBzOqlTUBj4Fg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JBNocTPuuWQ4DPC3Cw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GxYL976sh_H5lAGzS5iw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tLz5bPMYV9cwsSe5y1xA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jMSfzSf4QMBgCj2pI_M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1Zi1hIRzOR0HwWYAt00g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.K6BVRlJ_S5uPrMBx5S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GmnVyaRJveu5e9pKuiNQ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uVDexlSQOlCJXMXGbpRg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Obw8uaUDMTWzYlMRPHd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Ez7yU8Te.p6LstxFA1qA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heme/theme1.xml><?xml version="1.0" encoding="utf-8"?>
<a:theme xmlns:a="http://schemas.openxmlformats.org/drawingml/2006/main" name="1_VWAG_Presentation_q_de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20316_VWAG_Template_draft 1">
    <a:dk1>
      <a:srgbClr val="000000"/>
    </a:dk1>
    <a:lt1>
      <a:srgbClr val="FFFFFF"/>
    </a:lt1>
    <a:dk2>
      <a:srgbClr val="003366"/>
    </a:dk2>
    <a:lt2>
      <a:srgbClr val="D4D6D9"/>
    </a:lt2>
    <a:accent1>
      <a:srgbClr val="A6ADB3"/>
    </a:accent1>
    <a:accent2>
      <a:srgbClr val="006384"/>
    </a:accent2>
    <a:accent3>
      <a:srgbClr val="FFFFFF"/>
    </a:accent3>
    <a:accent4>
      <a:srgbClr val="000000"/>
    </a:accent4>
    <a:accent5>
      <a:srgbClr val="D0D3D6"/>
    </a:accent5>
    <a:accent6>
      <a:srgbClr val="005977"/>
    </a:accent6>
    <a:hlink>
      <a:srgbClr val="5F1939"/>
    </a:hlink>
    <a:folHlink>
      <a:srgbClr val="80B0C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120316_VWAG_Template_draft 1">
    <a:dk1>
      <a:srgbClr val="000000"/>
    </a:dk1>
    <a:lt1>
      <a:srgbClr val="FFFFFF"/>
    </a:lt1>
    <a:dk2>
      <a:srgbClr val="003366"/>
    </a:dk2>
    <a:lt2>
      <a:srgbClr val="D4D6D9"/>
    </a:lt2>
    <a:accent1>
      <a:srgbClr val="A6ADB3"/>
    </a:accent1>
    <a:accent2>
      <a:srgbClr val="006384"/>
    </a:accent2>
    <a:accent3>
      <a:srgbClr val="FFFFFF"/>
    </a:accent3>
    <a:accent4>
      <a:srgbClr val="000000"/>
    </a:accent4>
    <a:accent5>
      <a:srgbClr val="D0D3D6"/>
    </a:accent5>
    <a:accent6>
      <a:srgbClr val="005977"/>
    </a:accent6>
    <a:hlink>
      <a:srgbClr val="5F1939"/>
    </a:hlink>
    <a:folHlink>
      <a:srgbClr val="80B0C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229</Words>
  <Application>Microsoft Office PowerPoint</Application>
  <PresentationFormat>A4 Paper (210x297 mm)</PresentationFormat>
  <Paragraphs>3724</Paragraphs>
  <Slides>62</Slides>
  <Notes>3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69" baseType="lpstr">
      <vt:lpstr>宋体</vt:lpstr>
      <vt:lpstr>Arial</vt:lpstr>
      <vt:lpstr>Calibri</vt:lpstr>
      <vt:lpstr>VWAG TheSans</vt:lpstr>
      <vt:lpstr>Webdings</vt:lpstr>
      <vt:lpstr>1_VWAG_Presentation_q_de</vt:lpstr>
      <vt:lpstr>think-cell Slide</vt:lpstr>
      <vt:lpstr>PR69.OP Volkswagen Group China Volume Presentation</vt:lpstr>
      <vt:lpstr>Table of Contents </vt:lpstr>
      <vt:lpstr>Table of Contents </vt:lpstr>
      <vt:lpstr>Titel</vt:lpstr>
      <vt:lpstr>Titel</vt:lpstr>
      <vt:lpstr>Titel</vt:lpstr>
      <vt:lpstr>Title</vt:lpstr>
      <vt:lpstr>Titel</vt:lpstr>
      <vt:lpstr>Table of Contents </vt:lpstr>
      <vt:lpstr>PR69 OP Volkswagen Group China Volume Planning Status</vt:lpstr>
      <vt:lpstr>PowerPoint Presentation</vt:lpstr>
      <vt:lpstr>Executive Summary – VGC PR69.OP Volume Plan( 2/2)</vt:lpstr>
      <vt:lpstr>Volkswagen Group China (CKD &amp; FBU) PR69.OP Volume Planning 2020-2030</vt:lpstr>
      <vt:lpstr>Volkswagen Group China (CKD &amp; FBU) PR69.OP Volume Planning 2020-2030</vt:lpstr>
      <vt:lpstr>Volkswagen Group China (CKD &amp; FBU) NEV PR69.OP Volume Planning 2020-2030</vt:lpstr>
      <vt:lpstr>Volkswagen Group China (CKD &amp; FBU) PR69.OP vs. PR69.SP - Acc. Volumes (2020-2030)</vt:lpstr>
      <vt:lpstr>Volkswagen Group China (CKD &amp; FBU) PR69.OP vs. PR69.SP - Acc. Volumes (2020-2030)</vt:lpstr>
      <vt:lpstr>Title</vt:lpstr>
      <vt:lpstr>Volkswagen Group China (CKD &amp; FBU) Volume PR69.OP vs. PR69.SP</vt:lpstr>
      <vt:lpstr>Volkswagen Group China (CKD &amp; FBU) NEV PR69.OP vs. PR69.SP - Acc. Volumes (2020-2030)</vt:lpstr>
      <vt:lpstr>Volkswagen Group China (CKD &amp; FBU) NEV PR69.OP vs. PR69.SP - Acc. Volumes (2020-2030)</vt:lpstr>
      <vt:lpstr>PowerPoint Presentation</vt:lpstr>
      <vt:lpstr>Volkswagen Group China (CKD &amp; FBU )NEV Volume PR69.OP vs. PR69.SP</vt:lpstr>
      <vt:lpstr>Volkswagen Group China (CKD &amp; FBU) NEV PR69.OP Volume Planning 2020-2030</vt:lpstr>
      <vt:lpstr>Title</vt:lpstr>
      <vt:lpstr>Table of Contents </vt:lpstr>
      <vt:lpstr>Volkswagen Brand Cycle Plan</vt:lpstr>
      <vt:lpstr>Volkswagen Brand (CKD &amp; FBU) PR69.OP Volume Planning 2020-2030</vt:lpstr>
      <vt:lpstr>Volkswagen Brand NEV PR69.OP Volume Planning 2020-2030</vt:lpstr>
      <vt:lpstr>Volkswagen Brand (CKD &amp; FBU) PR69.OP vs. PR69.SP - Acc. Volumes (2020-2030)</vt:lpstr>
      <vt:lpstr>Volkswagen Brand (CKD &amp; FBU) Volume PR69.OP vs. PR69.SP</vt:lpstr>
      <vt:lpstr>Volkswagen Brand (CKD &amp; FBU) NEV PR69.OP vs. PR69.SP - Acc. Volumes (2020-2030)</vt:lpstr>
      <vt:lpstr>Volkswagen Brand (CKD &amp; FBU) NEV Volume PR69.OP vs. PR69.SP</vt:lpstr>
      <vt:lpstr>Title</vt:lpstr>
      <vt:lpstr>Table of Contents </vt:lpstr>
      <vt:lpstr>Volkswagen Brand Cycle Plan</vt:lpstr>
      <vt:lpstr>Jetta Brand PR69.OP Volume Planning 2020-2030</vt:lpstr>
      <vt:lpstr>Jetta Brand (CKD &amp; FBU) PR69.OP vs. PR69.SP - Acc. Volumes (2020-2030)</vt:lpstr>
      <vt:lpstr>Jetta Brand Volume PR69.OP vs. PR69.SP</vt:lpstr>
      <vt:lpstr>Table of Contents </vt:lpstr>
      <vt:lpstr>Volkswagen Brand Cycle Plan</vt:lpstr>
      <vt:lpstr>Cupra Brand PR69.OP Volume Planning 2020-2030</vt:lpstr>
      <vt:lpstr>Jetta Brand (CKD &amp; FBU) PR69.OP vs. PR69.SP - Acc. Volumes (2020-2030)</vt:lpstr>
      <vt:lpstr>Cupra Brand Volume PR69.OP vs. PR69.SP</vt:lpstr>
      <vt:lpstr>Table of Contents </vt:lpstr>
      <vt:lpstr>Audi Brand Cycle Plan</vt:lpstr>
      <vt:lpstr>Audi Brand (CKD &amp; FBU) PR69.OP Volume Planning 2020-2030</vt:lpstr>
      <vt:lpstr>Audi Brand (CKD &amp; FBU) NEV PR69.OP Volume Planning 2020-2030</vt:lpstr>
      <vt:lpstr>Audi Brand (CKD &amp; FBU) PR69.OP vs. PR69.SP - Acc. Volumes (2020-2030)</vt:lpstr>
      <vt:lpstr>Audi Brand (CKD &amp; FBU) Volume PR69.OP vs. PR69.SP</vt:lpstr>
      <vt:lpstr>Audi Brand (CKD &amp; FBU) NEV PR69.OP vs. PR69.SP - Acc. Volumes (2020-2030)</vt:lpstr>
      <vt:lpstr>Audi Brand (CKD &amp; FBU) NEV Volume PR69.OP vs. PR69.SP</vt:lpstr>
      <vt:lpstr>Title</vt:lpstr>
      <vt:lpstr>Table of Contents </vt:lpstr>
      <vt:lpstr>Skoda Brand Cycle Plan</vt:lpstr>
      <vt:lpstr>Skoda Brand PR69.OP Volume Planning 2020-2030</vt:lpstr>
      <vt:lpstr>Skoda Brand NEV PR69.OP Volume Planning 2020-2030</vt:lpstr>
      <vt:lpstr>Skoda Brand PR69.OP vs. PR69.SP - Acc. Volumes (2020-2030)</vt:lpstr>
      <vt:lpstr>Skoda Brand Volume PR69.OP vs. PR69.SP</vt:lpstr>
      <vt:lpstr>Skoda (CKD &amp; FBU) NEV PR69.OP vs. PR69.SP - Acc. Volumes (2020-2030)</vt:lpstr>
      <vt:lpstr>Skoda Brand NEV Volume PR69.OP vs. PR69.SP</vt:lpstr>
      <vt:lpstr>Skoda (CKD &amp; FBU) NEV PR69.OP Volume Planning 2020-2030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7-05T10:04:19Z</dcterms:created>
  <dcterms:modified xsi:type="dcterms:W3CDTF">2020-08-26T08:5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